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23" r:id="rId4"/>
  </p:sldMasterIdLst>
  <p:notesMasterIdLst>
    <p:notesMasterId r:id="rId14"/>
  </p:notesMasterIdLst>
  <p:handoutMasterIdLst>
    <p:handoutMasterId r:id="rId15"/>
  </p:handoutMasterIdLst>
  <p:sldIdLst>
    <p:sldId id="328" r:id="rId5"/>
    <p:sldId id="331" r:id="rId6"/>
    <p:sldId id="332" r:id="rId7"/>
    <p:sldId id="333" r:id="rId8"/>
    <p:sldId id="334" r:id="rId9"/>
    <p:sldId id="335" r:id="rId10"/>
    <p:sldId id="336" r:id="rId11"/>
    <p:sldId id="337" r:id="rId12"/>
    <p:sldId id="338" r:id="rId13"/>
  </p:sldIdLst>
  <p:sldSz cx="12801600" cy="9601200" type="A3"/>
  <p:notesSz cx="6858000" cy="9144000"/>
  <p:custDataLst>
    <p:tags r:id="rId16"/>
  </p:custDataLst>
  <p:defaultTextStyle>
    <a:defPPr>
      <a:defRPr lang="en-US"/>
    </a:defPPr>
    <a:lvl1pPr marL="0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1pPr>
    <a:lvl2pPr marL="537667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2pPr>
    <a:lvl3pPr marL="1075334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3pPr>
    <a:lvl4pPr marL="1613002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4pPr>
    <a:lvl5pPr marL="2150669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5pPr>
    <a:lvl6pPr marL="2688336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6pPr>
    <a:lvl7pPr marL="3226003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7pPr>
    <a:lvl8pPr marL="3763670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8pPr>
    <a:lvl9pPr marL="4301338" algn="l" defTabSz="1075334" rtl="0" eaLnBrk="1" latinLnBrk="0" hangingPunct="1">
      <a:defRPr sz="211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Liga Vilkaja" initials="LV" lastIdx="129" clrIdx="0">
    <p:extLst>
      <p:ext uri="{19B8F6BF-5375-455C-9EA6-DF929625EA0E}">
        <p15:presenceInfo xmlns:p15="http://schemas.microsoft.com/office/powerpoint/2012/main" userId="S-1-5-21-111144332-1579889163-3787059272-250861" providerId="AD"/>
      </p:ext>
    </p:extLst>
  </p:cmAuthor>
  <p:cmAuthor id="6" name="Laura Dimitrijeva" initials="LD" lastIdx="1" clrIdx="1">
    <p:extLst>
      <p:ext uri="{19B8F6BF-5375-455C-9EA6-DF929625EA0E}">
        <p15:presenceInfo xmlns:p15="http://schemas.microsoft.com/office/powerpoint/2012/main" userId="S-1-5-21-1762135226-342840741-925700815-704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964" autoAdjust="0"/>
    <p:restoredTop sz="94744" autoAdjust="0"/>
  </p:normalViewPr>
  <p:slideViewPr>
    <p:cSldViewPr snapToGrid="0" snapToObjects="1" showGuides="1">
      <p:cViewPr varScale="1">
        <p:scale>
          <a:sx n="78" d="100"/>
          <a:sy n="78" d="100"/>
        </p:scale>
        <p:origin x="1278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171" d="100"/>
          <a:sy n="171" d="100"/>
        </p:scale>
        <p:origin x="6552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4A09DDA-0787-4B42-881F-6B3C239318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31845B-8C18-C246-A0D1-61FFD19631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0301B5-88AD-1849-891D-EA2905EB5A88}" type="datetimeFigureOut">
              <a:rPr lang="en-GB" smtClean="0"/>
              <a:t>09/01/2020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75FE6D-CCE1-E44E-89A4-77460EF6CC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6315B-F8F9-5649-8DCB-C363E729D5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602F4-4C0C-5F4F-8771-7E15167AE556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7455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50AB23-24A6-494C-BA00-B87242B78CB4}" type="datetimeFigureOut">
              <a:rPr lang="en-GB" smtClean="0"/>
              <a:t>09/01/2020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A530D-631F-4981-98F0-E6C07C67E1A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9541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1pPr>
    <a:lvl2pPr marL="537667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2pPr>
    <a:lvl3pPr marL="1075334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3pPr>
    <a:lvl4pPr marL="1613002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4pPr>
    <a:lvl5pPr marL="2150669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5pPr>
    <a:lvl6pPr marL="2688336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6pPr>
    <a:lvl7pPr marL="3226003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7pPr>
    <a:lvl8pPr marL="3763670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8pPr>
    <a:lvl9pPr marL="4301338" algn="l" defTabSz="1075334" rtl="0" eaLnBrk="1" latinLnBrk="0" hangingPunct="1">
      <a:defRPr sz="1411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53953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1" name="think-cell Slide" r:id="rId4" imgW="455" imgH="454" progId="TCLayout.ActiveDocument.1">
                  <p:embed/>
                </p:oleObj>
              </mc:Choice>
              <mc:Fallback>
                <p:oleObj name="think-cell Slide" r:id="rId4" imgW="455" imgH="45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 bwMode="hidden">
          <a:xfrm>
            <a:off x="0" y="0"/>
            <a:ext cx="8501063" cy="48006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17" dirty="0"/>
          </a:p>
        </p:txBody>
      </p:sp>
      <p:sp>
        <p:nvSpPr>
          <p:cNvPr id="10" name="Rectangle 9"/>
          <p:cNvSpPr/>
          <p:nvPr/>
        </p:nvSpPr>
        <p:spPr bwMode="hidden">
          <a:xfrm>
            <a:off x="0" y="4800600"/>
            <a:ext cx="8501063" cy="16002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17" dirty="0"/>
          </a:p>
        </p:txBody>
      </p:sp>
      <p:sp>
        <p:nvSpPr>
          <p:cNvPr id="11" name="Rectangle 10"/>
          <p:cNvSpPr/>
          <p:nvPr/>
        </p:nvSpPr>
        <p:spPr bwMode="hidden">
          <a:xfrm>
            <a:off x="8501062" y="0"/>
            <a:ext cx="4300538" cy="4800600"/>
          </a:xfrm>
          <a:prstGeom prst="rect">
            <a:avLst/>
          </a:prstGeom>
          <a:solidFill>
            <a:srgbClr val="EB8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17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5058" y="600075"/>
            <a:ext cx="7789307" cy="340042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[Presentation title]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65060" y="5248656"/>
            <a:ext cx="5747385" cy="832104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C024489-97EC-1D48-A1FA-019C1228618C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 bwMode="gray">
          <a:xfrm>
            <a:off x="194396" y="7463334"/>
            <a:ext cx="1718615" cy="1891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2302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4801"/>
            <a:ext cx="5583697" cy="194218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5059" y="2944814"/>
            <a:ext cx="5583697" cy="569626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2BED7AA0-17C2-48FB-ABC4-C692036AAF8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00800" y="0"/>
            <a:ext cx="6400800" cy="96012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0" name="Presentation Footer">
            <a:extLst>
              <a:ext uri="{FF2B5EF4-FFF2-40B4-BE49-F238E27FC236}">
                <a16:creationId xmlns:a16="http://schemas.microsoft.com/office/drawing/2014/main" id="{13CA01EC-74E7-46D6-B9C3-3BF3818DA27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1E65F41B-A18F-4D3E-915F-1F3293174063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73C98D8-5B98-41C4-AEFF-4A77CD06769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23870"/>
      </p:ext>
    </p:extLst>
  </p:cSld>
  <p:clrMapOvr>
    <a:masterClrMapping/>
  </p:clrMapOvr>
  <p:hf hdr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65060" y="602720"/>
            <a:ext cx="5583696" cy="704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39845CC-465C-0147-BB19-41367E39D82E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65058" y="1306806"/>
            <a:ext cx="5583698" cy="1240179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5059" y="2944813"/>
            <a:ext cx="5583697" cy="569626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6400800" y="0"/>
            <a:ext cx="6400800" cy="96012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D7C5ACFB-61B7-4A08-AE8A-3A80BEC2E22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02BAA9CC-763F-4505-97C9-24D4ABD8DD6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10E761E0-3587-4A31-997F-CE8E3A358C6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6111294"/>
      </p:ext>
    </p:extLst>
  </p:cSld>
  <p:clrMapOvr>
    <a:masterClrMapping/>
  </p:clrMapOvr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4801"/>
            <a:ext cx="11871484" cy="194218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5058" y="2944813"/>
            <a:ext cx="3705463" cy="569626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48902" y="2944813"/>
            <a:ext cx="3705463" cy="569626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half" idx="13" hasCustomPrompt="1"/>
          </p:nvPr>
        </p:nvSpPr>
        <p:spPr>
          <a:xfrm>
            <a:off x="8631080" y="2944813"/>
            <a:ext cx="3705463" cy="569626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3" name="Presentation Footer">
            <a:extLst>
              <a:ext uri="{FF2B5EF4-FFF2-40B4-BE49-F238E27FC236}">
                <a16:creationId xmlns:a16="http://schemas.microsoft.com/office/drawing/2014/main" id="{6C53AB53-6653-42B1-B9D6-EB2EFF4B49D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76E638A8-EB6B-4563-B520-8A8A6A3E664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6013A4E0-8BC8-43BD-AE29-7D448DF33DB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3019015"/>
      </p:ext>
    </p:extLst>
  </p:cSld>
  <p:clrMapOvr>
    <a:masterClrMapping/>
  </p:clrMapOvr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2720"/>
            <a:ext cx="11871484" cy="704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id="{B56B3548-5EB8-714F-93B3-BD8CE8C6C99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65058" y="1306806"/>
            <a:ext cx="11871485" cy="1240179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5058" y="2944815"/>
            <a:ext cx="3705463" cy="569626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548902" y="2944815"/>
            <a:ext cx="3705463" cy="569626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Content Placeholder 4"/>
          <p:cNvSpPr>
            <a:spLocks noGrp="1"/>
          </p:cNvSpPr>
          <p:nvPr>
            <p:ph sz="half" idx="13" hasCustomPrompt="1"/>
          </p:nvPr>
        </p:nvSpPr>
        <p:spPr>
          <a:xfrm>
            <a:off x="8631080" y="2944815"/>
            <a:ext cx="3705463" cy="569626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255A06FB-EE8B-4642-9C1A-40B8F0083D8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CB39C188-B397-483D-80EC-B5D9D1384E65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5CA8159A-8660-4BB5-BFF5-FCB30C41DAD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52856060"/>
      </p:ext>
    </p:extLst>
  </p:cSld>
  <p:clrMapOvr>
    <a:masterClrMapping/>
  </p:clrMapOvr>
  <p:hf hdr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4801"/>
            <a:ext cx="11871484" cy="194218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5059" y="2944813"/>
            <a:ext cx="2683800" cy="569626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528644" y="2944813"/>
            <a:ext cx="2683800" cy="569626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 hasCustomPrompt="1"/>
          </p:nvPr>
        </p:nvSpPr>
        <p:spPr>
          <a:xfrm>
            <a:off x="6589157" y="2944813"/>
            <a:ext cx="2683800" cy="569626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 hasCustomPrompt="1"/>
          </p:nvPr>
        </p:nvSpPr>
        <p:spPr>
          <a:xfrm>
            <a:off x="9649671" y="2944813"/>
            <a:ext cx="2683800" cy="569626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EC1E7080-72F9-4244-AFA9-CEE3373F1B7F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9C15D536-803A-4FDA-96C2-0DD6A243A97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766AC7EC-26A9-4359-B160-8DCDEB14FC5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9664725"/>
      </p:ext>
    </p:extLst>
  </p:cSld>
  <p:clrMapOvr>
    <a:masterClrMapping/>
  </p:clrMapOvr>
  <p:hf hdr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2720"/>
            <a:ext cx="11871484" cy="704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2F08066-BCE7-3945-BE4E-1DEA43569B7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65058" y="1306806"/>
            <a:ext cx="11871485" cy="1240179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5059" y="2944813"/>
            <a:ext cx="2683800" cy="569626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528644" y="2944813"/>
            <a:ext cx="2683800" cy="569626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 hasCustomPrompt="1"/>
          </p:nvPr>
        </p:nvSpPr>
        <p:spPr>
          <a:xfrm>
            <a:off x="6589157" y="2944813"/>
            <a:ext cx="2683800" cy="569626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 hasCustomPrompt="1"/>
          </p:nvPr>
        </p:nvSpPr>
        <p:spPr>
          <a:xfrm>
            <a:off x="9649671" y="2944813"/>
            <a:ext cx="2683800" cy="569626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5" name="Presentation Footer">
            <a:extLst>
              <a:ext uri="{FF2B5EF4-FFF2-40B4-BE49-F238E27FC236}">
                <a16:creationId xmlns:a16="http://schemas.microsoft.com/office/drawing/2014/main" id="{7A38251C-F0F6-4C4E-90EA-046EBE3900D2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D1CEFF90-96A0-43B5-A905-C1B1E995A889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9026E04C-2403-4D04-9506-C1AEDD8BEC5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43479323"/>
      </p:ext>
    </p:extLst>
  </p:cSld>
  <p:clrMapOvr>
    <a:masterClrMapping/>
  </p:clrMapOvr>
  <p:hf hdr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4801"/>
            <a:ext cx="11871484" cy="194218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5059" y="2944813"/>
            <a:ext cx="2071440" cy="5696267"/>
          </a:xfrm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15897" y="2944813"/>
            <a:ext cx="2071440" cy="5696267"/>
          </a:xfrm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5366736" y="2944813"/>
            <a:ext cx="2071440" cy="5696267"/>
          </a:xfrm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7817574" y="2944813"/>
            <a:ext cx="2071440" cy="5696267"/>
          </a:xfrm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half" idx="15"/>
          </p:nvPr>
        </p:nvSpPr>
        <p:spPr>
          <a:xfrm>
            <a:off x="10268415" y="2944813"/>
            <a:ext cx="2071440" cy="5696267"/>
          </a:xfrm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Presentation Footer">
            <a:extLst>
              <a:ext uri="{FF2B5EF4-FFF2-40B4-BE49-F238E27FC236}">
                <a16:creationId xmlns:a16="http://schemas.microsoft.com/office/drawing/2014/main" id="{2361EBB0-BC2B-4110-AFF0-9612E9BCBE6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B2E9937C-7E30-4F8A-B2DC-3CABA59F5C8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5289CCE2-B31E-4A52-83B1-71AE544EE29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5707198"/>
      </p:ext>
    </p:extLst>
  </p:cSld>
  <p:clrMapOvr>
    <a:masterClrMapping/>
  </p:clrMapOvr>
  <p:hf hdr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2720"/>
            <a:ext cx="11871484" cy="704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BCBFC701-7287-1F4F-B6FA-1BECCBF324C6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65058" y="1306806"/>
            <a:ext cx="11871485" cy="1240179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5059" y="2944813"/>
            <a:ext cx="2071440" cy="5696267"/>
          </a:xfrm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915897" y="2944813"/>
            <a:ext cx="2071440" cy="5696267"/>
          </a:xfrm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half" idx="13"/>
          </p:nvPr>
        </p:nvSpPr>
        <p:spPr>
          <a:xfrm>
            <a:off x="5366736" y="2944813"/>
            <a:ext cx="2071440" cy="5696267"/>
          </a:xfrm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half" idx="14"/>
          </p:nvPr>
        </p:nvSpPr>
        <p:spPr>
          <a:xfrm>
            <a:off x="7817574" y="2944813"/>
            <a:ext cx="2071440" cy="5696267"/>
          </a:xfrm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Content Placeholder 6"/>
          <p:cNvSpPr>
            <a:spLocks noGrp="1"/>
          </p:cNvSpPr>
          <p:nvPr>
            <p:ph sz="half" idx="15"/>
          </p:nvPr>
        </p:nvSpPr>
        <p:spPr>
          <a:xfrm>
            <a:off x="10268415" y="2944813"/>
            <a:ext cx="2071440" cy="5696267"/>
          </a:xfrm>
        </p:spPr>
        <p:txBody>
          <a:bodyPr/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Presentation Footer">
            <a:extLst>
              <a:ext uri="{FF2B5EF4-FFF2-40B4-BE49-F238E27FC236}">
                <a16:creationId xmlns:a16="http://schemas.microsoft.com/office/drawing/2014/main" id="{EBE12295-1610-4511-8950-3D9E038E4C9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7" name="Date">
            <a:extLst>
              <a:ext uri="{FF2B5EF4-FFF2-40B4-BE49-F238E27FC236}">
                <a16:creationId xmlns:a16="http://schemas.microsoft.com/office/drawing/2014/main" id="{6226A18B-2E48-47C8-8231-AE2C5DF4E67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9652FBC2-942D-468E-8FFB-4961241D592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9817039"/>
      </p:ext>
    </p:extLst>
  </p:cSld>
  <p:clrMapOvr>
    <a:masterClrMapping/>
  </p:clrMapOvr>
  <p:hf hdr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4801"/>
            <a:ext cx="11871484" cy="194218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65058" y="2940368"/>
            <a:ext cx="3705464" cy="4224528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548069" y="2940368"/>
            <a:ext cx="3705464" cy="4224528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631079" y="2940368"/>
            <a:ext cx="3705464" cy="4224528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CF36C29E-E542-4CF8-8350-7B2993AB9F11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65058" y="7392036"/>
            <a:ext cx="3705463" cy="124904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E49564D-E876-4F96-AA36-94443DF6A6B4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548070" y="7392036"/>
            <a:ext cx="3705463" cy="124904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D1C35B22-67CB-4342-8F23-814ABE95E981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631080" y="7392036"/>
            <a:ext cx="3705463" cy="124904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0" name="Presentation Footer">
            <a:extLst>
              <a:ext uri="{FF2B5EF4-FFF2-40B4-BE49-F238E27FC236}">
                <a16:creationId xmlns:a16="http://schemas.microsoft.com/office/drawing/2014/main" id="{143150FA-7ADA-4D3B-8D83-185C5B9627F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21" name="Date">
            <a:extLst>
              <a:ext uri="{FF2B5EF4-FFF2-40B4-BE49-F238E27FC236}">
                <a16:creationId xmlns:a16="http://schemas.microsoft.com/office/drawing/2014/main" id="{654B51D6-1525-4D38-B225-69AC562201DD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22" name="Slide Number">
            <a:extLst>
              <a:ext uri="{FF2B5EF4-FFF2-40B4-BE49-F238E27FC236}">
                <a16:creationId xmlns:a16="http://schemas.microsoft.com/office/drawing/2014/main" id="{9CE3AF0A-026B-4716-8B65-D5F631540C4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5327034"/>
      </p:ext>
    </p:extLst>
  </p:cSld>
  <p:clrMapOvr>
    <a:masterClrMapping/>
  </p:clrMapOvr>
  <p:hf hdr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2720"/>
            <a:ext cx="11871484" cy="704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5CE153FD-285A-D647-ADE4-833E86A9CF52}"/>
              </a:ext>
            </a:extLst>
          </p:cNvPr>
          <p:cNvSpPr>
            <a:spLocks noGrp="1"/>
          </p:cNvSpPr>
          <p:nvPr>
            <p:ph type="subTitle" idx="24" hasCustomPrompt="1"/>
          </p:nvPr>
        </p:nvSpPr>
        <p:spPr>
          <a:xfrm>
            <a:off x="465058" y="1306806"/>
            <a:ext cx="11871485" cy="1240179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10" name="Picture Placeholder 2"/>
          <p:cNvSpPr>
            <a:spLocks noGrp="1"/>
          </p:cNvSpPr>
          <p:nvPr>
            <p:ph type="pic" sz="quarter" idx="13"/>
          </p:nvPr>
        </p:nvSpPr>
        <p:spPr>
          <a:xfrm>
            <a:off x="465058" y="2940368"/>
            <a:ext cx="3705464" cy="4224528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548069" y="2940368"/>
            <a:ext cx="3705464" cy="4224528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8" name="Picture Placeholder 4"/>
          <p:cNvSpPr>
            <a:spLocks noGrp="1"/>
          </p:cNvSpPr>
          <p:nvPr>
            <p:ph type="pic" sz="quarter" idx="17"/>
          </p:nvPr>
        </p:nvSpPr>
        <p:spPr>
          <a:xfrm>
            <a:off x="8631079" y="2940368"/>
            <a:ext cx="3705464" cy="4224528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DF41A2FF-FB3D-4971-8B6D-3BD731DE5053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65058" y="7392036"/>
            <a:ext cx="3705463" cy="124904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7662A741-222C-4F6F-9366-53AED64CAC17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548070" y="7392036"/>
            <a:ext cx="3705463" cy="124904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:a16="http://schemas.microsoft.com/office/drawing/2014/main" id="{2C7502DD-886C-4B7F-ACDF-7765ADE3972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631080" y="7392036"/>
            <a:ext cx="3705463" cy="1249045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/>
            </a:lvl3pPr>
          </a:lstStyle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</p:txBody>
      </p:sp>
      <p:sp>
        <p:nvSpPr>
          <p:cNvPr id="22" name="Presentation Footer">
            <a:extLst>
              <a:ext uri="{FF2B5EF4-FFF2-40B4-BE49-F238E27FC236}">
                <a16:creationId xmlns:a16="http://schemas.microsoft.com/office/drawing/2014/main" id="{E528D06F-5262-4849-B168-CAB133AE792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23" name="Date">
            <a:extLst>
              <a:ext uri="{FF2B5EF4-FFF2-40B4-BE49-F238E27FC236}">
                <a16:creationId xmlns:a16="http://schemas.microsoft.com/office/drawing/2014/main" id="{8844EFB6-E1C5-4C39-8ECF-FB91260B5DA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24" name="Slide Number">
            <a:extLst>
              <a:ext uri="{FF2B5EF4-FFF2-40B4-BE49-F238E27FC236}">
                <a16:creationId xmlns:a16="http://schemas.microsoft.com/office/drawing/2014/main" id="{238FF94D-6991-41E6-8DF6-656C300803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7466074"/>
      </p:ext>
    </p:extLst>
  </p:cSld>
  <p:clrMapOvr>
    <a:masterClrMapping/>
  </p:clrMapOvr>
  <p:hf hd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74252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5" name="think-cell Slide" r:id="rId4" imgW="455" imgH="454" progId="TCLayout.ActiveDocument.1">
                  <p:embed/>
                </p:oleObj>
              </mc:Choice>
              <mc:Fallback>
                <p:oleObj name="think-cell Slide" r:id="rId4" imgW="455" imgH="45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4801"/>
            <a:ext cx="11871484" cy="194218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5058" y="2944368"/>
            <a:ext cx="11871484" cy="5703379"/>
          </a:xfrm>
        </p:spPr>
        <p:txBody>
          <a:bodyPr/>
          <a:lstStyle>
            <a:lvl1pPr marL="730250" indent="-7302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tabLst>
                <a:tab pos="10623550" algn="r"/>
              </a:tabLst>
              <a:defRPr sz="2800" b="0">
                <a:solidFill>
                  <a:schemeClr val="tx1"/>
                </a:solidFill>
              </a:defRPr>
            </a:lvl1pPr>
            <a:lvl2pPr marL="730250" indent="0">
              <a:buClr>
                <a:schemeClr val="accent4"/>
              </a:buClr>
              <a:buFont typeface="+mj-lt"/>
              <a:buNone/>
              <a:tabLst>
                <a:tab pos="10623550" algn="r"/>
              </a:tabLst>
              <a:defRPr sz="1600"/>
            </a:lvl2pPr>
            <a:lvl3pPr marL="914400" indent="-182563">
              <a:lnSpc>
                <a:spcPct val="100000"/>
              </a:lnSpc>
              <a:tabLst>
                <a:tab pos="10623550" algn="r"/>
              </a:tabLst>
              <a:defRPr/>
            </a:lvl3pPr>
            <a:lvl4pPr marL="1096963" indent="-182563">
              <a:lnSpc>
                <a:spcPct val="100000"/>
              </a:lnSpc>
              <a:tabLst>
                <a:tab pos="10623550" algn="r"/>
              </a:tabLst>
              <a:defRPr/>
            </a:lvl4pPr>
            <a:lvl5pPr marL="1279525" indent="-182563">
              <a:lnSpc>
                <a:spcPct val="100000"/>
              </a:lnSpc>
              <a:tabLst>
                <a:tab pos="10623550" algn="r"/>
              </a:tabLst>
              <a:defRPr/>
            </a:lvl5pPr>
            <a:lvl6pPr marL="1462088" indent="-182563">
              <a:lnSpc>
                <a:spcPct val="100000"/>
              </a:lnSpc>
              <a:tabLst>
                <a:tab pos="10623550" algn="r"/>
              </a:tabLst>
              <a:defRPr/>
            </a:lvl6pPr>
            <a:lvl7pPr marL="1644650" indent="-182563">
              <a:lnSpc>
                <a:spcPct val="100000"/>
              </a:lnSpc>
              <a:tabLst>
                <a:tab pos="10623550" algn="r"/>
              </a:tabLst>
              <a:defRPr/>
            </a:lvl7pPr>
            <a:lvl8pPr marL="1828800" indent="-182563">
              <a:lnSpc>
                <a:spcPct val="100000"/>
              </a:lnSpc>
              <a:tabLst>
                <a:tab pos="10623550" algn="r"/>
              </a:tabLst>
              <a:defRPr/>
            </a:lvl8pPr>
            <a:lvl9pPr marL="2011363" indent="-182563">
              <a:lnSpc>
                <a:spcPct val="100000"/>
              </a:lnSpc>
              <a:tabLst>
                <a:tab pos="10623550" algn="r"/>
              </a:tabLst>
              <a:defRPr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Presentation Footer">
            <a:extLst>
              <a:ext uri="{FF2B5EF4-FFF2-40B4-BE49-F238E27FC236}">
                <a16:creationId xmlns:a16="http://schemas.microsoft.com/office/drawing/2014/main" id="{B0AE826D-197B-B84E-8B9B-E0610700761D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endParaRPr lang="en-GB" dirty="0"/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2A29A14A-827E-1247-9162-E763C985AC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6" name="Slide Number">
            <a:extLst>
              <a:ext uri="{FF2B5EF4-FFF2-40B4-BE49-F238E27FC236}">
                <a16:creationId xmlns:a16="http://schemas.microsoft.com/office/drawing/2014/main" id="{7092926E-C7A2-1946-B74B-5EC49D3EAE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3520662"/>
      </p:ext>
    </p:extLst>
  </p:cSld>
  <p:clrMapOvr>
    <a:masterClrMapping/>
  </p:clrMapOvr>
  <p:hf hdr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4801"/>
            <a:ext cx="11871484" cy="194218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5647D158-444C-4C82-ACB0-9AB0A3521F0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69595" y="4800600"/>
            <a:ext cx="2688336" cy="384048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1" name="Content Placeholder 3">
            <a:extLst>
              <a:ext uri="{FF2B5EF4-FFF2-40B4-BE49-F238E27FC236}">
                <a16:creationId xmlns:a16="http://schemas.microsoft.com/office/drawing/2014/main" id="{09E9185D-B5E2-42D8-B0BB-64A240642503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527620" y="4800600"/>
            <a:ext cx="2688336" cy="384048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4EDDB54A-2316-4869-8165-5986C6003418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590181" y="4800600"/>
            <a:ext cx="2688336" cy="384048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3" name="Content Placeholder 5">
            <a:extLst>
              <a:ext uri="{FF2B5EF4-FFF2-40B4-BE49-F238E27FC236}">
                <a16:creationId xmlns:a16="http://schemas.microsoft.com/office/drawing/2014/main" id="{C944BFAA-989E-4744-AC4B-DF3B93FF7EF7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652742" y="4800600"/>
            <a:ext cx="2688336" cy="384048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B9DDE53E-9EDD-4F33-A597-8A2E4C6CBC9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6" name="Date">
            <a:extLst>
              <a:ext uri="{FF2B5EF4-FFF2-40B4-BE49-F238E27FC236}">
                <a16:creationId xmlns:a16="http://schemas.microsoft.com/office/drawing/2014/main" id="{1C6AF745-C28E-4CFB-995D-464989BC2E66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E93105BA-6858-4899-BF66-66DC46BAE1D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377084"/>
      </p:ext>
    </p:extLst>
  </p:cSld>
  <p:clrMapOvr>
    <a:masterClrMapping/>
  </p:clrMapOvr>
  <p:hf hdr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2720"/>
            <a:ext cx="11871484" cy="704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DA3591F7-EFF5-C649-BCF8-906639EFF4C9}"/>
              </a:ext>
            </a:extLst>
          </p:cNvPr>
          <p:cNvSpPr>
            <a:spLocks noGrp="1"/>
          </p:cNvSpPr>
          <p:nvPr>
            <p:ph type="subTitle" idx="23" hasCustomPrompt="1"/>
          </p:nvPr>
        </p:nvSpPr>
        <p:spPr>
          <a:xfrm>
            <a:off x="465058" y="1306806"/>
            <a:ext cx="11871485" cy="1240179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14F44128-4414-43CF-8270-05DD5E55901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69595" y="4800600"/>
            <a:ext cx="2688336" cy="384048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5550B7EC-9A89-4137-AC2C-8E055967FFC7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3527620" y="4800600"/>
            <a:ext cx="2688336" cy="384048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:a16="http://schemas.microsoft.com/office/drawing/2014/main" id="{CAE92F97-7ADC-46A9-8EB2-EF00E7B8C3B0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590181" y="4800600"/>
            <a:ext cx="2688336" cy="384048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5" name="Content Placeholder 5">
            <a:extLst>
              <a:ext uri="{FF2B5EF4-FFF2-40B4-BE49-F238E27FC236}">
                <a16:creationId xmlns:a16="http://schemas.microsoft.com/office/drawing/2014/main" id="{F0AE013A-6661-47CF-A7AF-4541D1BE18D6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652742" y="4800600"/>
            <a:ext cx="2688336" cy="3840480"/>
          </a:xfrm>
        </p:spPr>
        <p:txBody>
          <a:bodyPr/>
          <a:lstStyle>
            <a:lvl1pPr>
              <a:defRPr sz="12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8" name="Presentation Footer">
            <a:extLst>
              <a:ext uri="{FF2B5EF4-FFF2-40B4-BE49-F238E27FC236}">
                <a16:creationId xmlns:a16="http://schemas.microsoft.com/office/drawing/2014/main" id="{476632F6-66EA-4654-B66C-2F08C8E1CEB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8B148D9B-4228-4F7F-B491-CFE84F85C04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309E4F0E-DE98-4D2A-9BFB-DA7217D3273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6970495"/>
      </p:ext>
    </p:extLst>
  </p:cSld>
  <p:clrMapOvr>
    <a:masterClrMapping/>
  </p:clrMapOvr>
  <p:hf hdr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4801"/>
            <a:ext cx="11871484" cy="194218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0" name="Picture Placeholder 2"/>
          <p:cNvSpPr>
            <a:spLocks noGrp="1" noChangeAspect="1"/>
          </p:cNvSpPr>
          <p:nvPr>
            <p:ph type="pic" sz="quarter" idx="13"/>
          </p:nvPr>
        </p:nvSpPr>
        <p:spPr>
          <a:xfrm>
            <a:off x="465057" y="2944368"/>
            <a:ext cx="1392174" cy="1856232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6" name="Picture Placeholder 3"/>
          <p:cNvSpPr>
            <a:spLocks noGrp="1" noChangeAspect="1"/>
          </p:cNvSpPr>
          <p:nvPr>
            <p:ph type="pic" sz="quarter" idx="15"/>
          </p:nvPr>
        </p:nvSpPr>
        <p:spPr>
          <a:xfrm>
            <a:off x="3527620" y="2944368"/>
            <a:ext cx="1392174" cy="1856232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8" name="Picture Placeholder 4"/>
          <p:cNvSpPr>
            <a:spLocks noGrp="1" noChangeAspect="1"/>
          </p:cNvSpPr>
          <p:nvPr>
            <p:ph type="pic" sz="quarter" idx="17"/>
          </p:nvPr>
        </p:nvSpPr>
        <p:spPr>
          <a:xfrm>
            <a:off x="6590181" y="2944368"/>
            <a:ext cx="1392174" cy="1856232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14" name="Picture Placeholder 5"/>
          <p:cNvSpPr>
            <a:spLocks noGrp="1" noChangeAspect="1"/>
          </p:cNvSpPr>
          <p:nvPr>
            <p:ph type="pic" sz="quarter" idx="19"/>
          </p:nvPr>
        </p:nvSpPr>
        <p:spPr>
          <a:xfrm>
            <a:off x="9652742" y="2944368"/>
            <a:ext cx="1392174" cy="1856232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0" name="Content Placeholder 2">
            <a:extLst>
              <a:ext uri="{FF2B5EF4-FFF2-40B4-BE49-F238E27FC236}">
                <a16:creationId xmlns:a16="http://schemas.microsoft.com/office/drawing/2014/main" id="{A7BDE18C-B6F5-4F07-92F2-88EB0F06DA80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69595" y="5120640"/>
            <a:ext cx="2688336" cy="352044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EAB83E31-ADC6-4472-8BCC-A5123751071B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527620" y="5120640"/>
            <a:ext cx="2688336" cy="352044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32" name="Content Placeholder 4">
            <a:extLst>
              <a:ext uri="{FF2B5EF4-FFF2-40B4-BE49-F238E27FC236}">
                <a16:creationId xmlns:a16="http://schemas.microsoft.com/office/drawing/2014/main" id="{2C9889D5-4B26-4E63-BD3D-E58AF8BFA96E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590181" y="5120640"/>
            <a:ext cx="2688336" cy="352044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33" name="Content Placeholder 5">
            <a:extLst>
              <a:ext uri="{FF2B5EF4-FFF2-40B4-BE49-F238E27FC236}">
                <a16:creationId xmlns:a16="http://schemas.microsoft.com/office/drawing/2014/main" id="{D4154D0B-36B2-465C-8CF8-5F641F04607D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652742" y="5120640"/>
            <a:ext cx="2688336" cy="352044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3" name="Presentation Footer">
            <a:extLst>
              <a:ext uri="{FF2B5EF4-FFF2-40B4-BE49-F238E27FC236}">
                <a16:creationId xmlns:a16="http://schemas.microsoft.com/office/drawing/2014/main" id="{8DCF3834-7D5F-40E8-8AF6-4F88731AE16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24" name="Date">
            <a:extLst>
              <a:ext uri="{FF2B5EF4-FFF2-40B4-BE49-F238E27FC236}">
                <a16:creationId xmlns:a16="http://schemas.microsoft.com/office/drawing/2014/main" id="{29A7CEAD-580B-4DE6-A2E0-E3DAE79DE6F0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25" name="Slide Number">
            <a:extLst>
              <a:ext uri="{FF2B5EF4-FFF2-40B4-BE49-F238E27FC236}">
                <a16:creationId xmlns:a16="http://schemas.microsoft.com/office/drawing/2014/main" id="{9F5E421A-2098-44B9-874B-993CE3B5FA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2200888"/>
      </p:ext>
    </p:extLst>
  </p:cSld>
  <p:clrMapOvr>
    <a:masterClrMapping/>
  </p:clrMapOvr>
  <p:hf hdr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2720"/>
            <a:ext cx="11871484" cy="704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id="{5194D818-D8E8-5342-BDE8-319BC1FCE4A9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65058" y="1306806"/>
            <a:ext cx="11871485" cy="1240179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28" name="Picture Placeholder 2">
            <a:extLst>
              <a:ext uri="{FF2B5EF4-FFF2-40B4-BE49-F238E27FC236}">
                <a16:creationId xmlns:a16="http://schemas.microsoft.com/office/drawing/2014/main" id="{136A12B2-03B5-4BC2-942B-CDF222899B39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465057" y="2944368"/>
            <a:ext cx="1392174" cy="1856232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29" name="Picture Placeholder 3">
            <a:extLst>
              <a:ext uri="{FF2B5EF4-FFF2-40B4-BE49-F238E27FC236}">
                <a16:creationId xmlns:a16="http://schemas.microsoft.com/office/drawing/2014/main" id="{19698F39-9E08-4628-9EAA-9DFB91AB41F4}"/>
              </a:ext>
            </a:extLst>
          </p:cNvPr>
          <p:cNvSpPr>
            <a:spLocks noGrp="1" noChangeAspect="1"/>
          </p:cNvSpPr>
          <p:nvPr>
            <p:ph type="pic" sz="quarter" idx="15"/>
          </p:nvPr>
        </p:nvSpPr>
        <p:spPr>
          <a:xfrm>
            <a:off x="3527620" y="2944368"/>
            <a:ext cx="1392174" cy="1856232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0" name="Picture Placeholder 4">
            <a:extLst>
              <a:ext uri="{FF2B5EF4-FFF2-40B4-BE49-F238E27FC236}">
                <a16:creationId xmlns:a16="http://schemas.microsoft.com/office/drawing/2014/main" id="{19DD7D57-3E24-4739-9180-648AACAD80CD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6590181" y="2944368"/>
            <a:ext cx="1392174" cy="1856232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1" name="Picture Placeholder 5">
            <a:extLst>
              <a:ext uri="{FF2B5EF4-FFF2-40B4-BE49-F238E27FC236}">
                <a16:creationId xmlns:a16="http://schemas.microsoft.com/office/drawing/2014/main" id="{C238DBFC-D359-4AE7-953F-513D1249339E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9652742" y="2944368"/>
            <a:ext cx="1392174" cy="1856232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F75EAC27-A3D9-42D2-B8B6-307439DE0C9C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69595" y="5120640"/>
            <a:ext cx="2688336" cy="352044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8B897F92-3121-4E86-B159-DB3A78790D2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527620" y="5120640"/>
            <a:ext cx="2688336" cy="352044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34" name="Content Placeholder 4">
            <a:extLst>
              <a:ext uri="{FF2B5EF4-FFF2-40B4-BE49-F238E27FC236}">
                <a16:creationId xmlns:a16="http://schemas.microsoft.com/office/drawing/2014/main" id="{91ECA7E9-EB6F-4C5F-9E75-057DD0429E4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590181" y="5120640"/>
            <a:ext cx="2688336" cy="352044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35" name="Content Placeholder 5">
            <a:extLst>
              <a:ext uri="{FF2B5EF4-FFF2-40B4-BE49-F238E27FC236}">
                <a16:creationId xmlns:a16="http://schemas.microsoft.com/office/drawing/2014/main" id="{364D15F8-8EEC-45CD-98E7-4DEE5949D11A}"/>
              </a:ext>
            </a:extLst>
          </p:cNvPr>
          <p:cNvSpPr>
            <a:spLocks noGrp="1"/>
          </p:cNvSpPr>
          <p:nvPr>
            <p:ph sz="quarter" idx="25" hasCustomPrompt="1"/>
          </p:nvPr>
        </p:nvSpPr>
        <p:spPr>
          <a:xfrm>
            <a:off x="9652742" y="5120640"/>
            <a:ext cx="2688336" cy="352044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 marL="0" indent="0">
              <a:buNone/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5" name="Presentation Footer">
            <a:extLst>
              <a:ext uri="{FF2B5EF4-FFF2-40B4-BE49-F238E27FC236}">
                <a16:creationId xmlns:a16="http://schemas.microsoft.com/office/drawing/2014/main" id="{292FBB13-99BA-4730-97DD-6B927BAB2B93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26" name="Date">
            <a:extLst>
              <a:ext uri="{FF2B5EF4-FFF2-40B4-BE49-F238E27FC236}">
                <a16:creationId xmlns:a16="http://schemas.microsoft.com/office/drawing/2014/main" id="{2CE8D507-C7DC-4A8C-AC5D-5AA897162AE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27" name="Slide Number">
            <a:extLst>
              <a:ext uri="{FF2B5EF4-FFF2-40B4-BE49-F238E27FC236}">
                <a16:creationId xmlns:a16="http://schemas.microsoft.com/office/drawing/2014/main" id="{C5452FF6-710C-4162-87A0-D32E3D9ED22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12142920"/>
      </p:ext>
    </p:extLst>
  </p:cSld>
  <p:clrMapOvr>
    <a:masterClrMapping/>
  </p:clrMapOvr>
  <p:hf hdr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4801"/>
            <a:ext cx="11871484" cy="194218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5060" y="2944813"/>
            <a:ext cx="3705463" cy="569626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880737" y="2000250"/>
            <a:ext cx="6455806" cy="664083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B3707D2C-7DF3-4EFE-9DD4-E8C7AA8B545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83D88E3C-7EF7-4B3C-9713-6E89C69AC6B9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10842AC8-8412-4D65-BC9D-953648FAE48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4817547"/>
      </p:ext>
    </p:extLst>
  </p:cSld>
  <p:clrMapOvr>
    <a:masterClrMapping/>
  </p:clrMapOvr>
  <p:hf hdr="0"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2720"/>
            <a:ext cx="11871484" cy="704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E168D6DA-542B-6F48-A3F4-9AAC02852C7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65058" y="1306806"/>
            <a:ext cx="11871485" cy="1240179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5060" y="2944813"/>
            <a:ext cx="3705463" cy="569626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880737" y="2000250"/>
            <a:ext cx="6455806" cy="664083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8D9C67B1-50E6-4DEF-9BFF-7719E52635D4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FCC2D15B-C84F-4D88-A2DE-44282445E10F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34B491E1-3607-4463-BA21-5BF30F96578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1374972"/>
      </p:ext>
    </p:extLst>
  </p:cSld>
  <p:clrMapOvr>
    <a:masterClrMapping/>
  </p:clrMapOvr>
  <p:hf hdr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5060" y="2944813"/>
            <a:ext cx="3705463" cy="569626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5880737" y="2000250"/>
            <a:ext cx="6455806" cy="664083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sp>
        <p:nvSpPr>
          <p:cNvPr id="8" name="Presentation Footer">
            <a:extLst>
              <a:ext uri="{FF2B5EF4-FFF2-40B4-BE49-F238E27FC236}">
                <a16:creationId xmlns:a16="http://schemas.microsoft.com/office/drawing/2014/main" id="{A2808A79-2905-41A1-B99C-1D393D6CBBB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6423CBA3-567A-4416-8DCF-ACBDBFE4FA84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9B4165E1-39E1-4A48-8ED6-9C3A963577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816816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9" name="Presentation Footer">
            <a:extLst>
              <a:ext uri="{FF2B5EF4-FFF2-40B4-BE49-F238E27FC236}">
                <a16:creationId xmlns:a16="http://schemas.microsoft.com/office/drawing/2014/main" id="{F2288642-D6A8-4716-B5EF-36D68817E02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0" name="Date">
            <a:extLst>
              <a:ext uri="{FF2B5EF4-FFF2-40B4-BE49-F238E27FC236}">
                <a16:creationId xmlns:a16="http://schemas.microsoft.com/office/drawing/2014/main" id="{76E9A6AC-3A56-4D69-B8B6-5E24CE0B75A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1" name="Slide Number">
            <a:extLst>
              <a:ext uri="{FF2B5EF4-FFF2-40B4-BE49-F238E27FC236}">
                <a16:creationId xmlns:a16="http://schemas.microsoft.com/office/drawing/2014/main" id="{AAC6746E-625A-44F1-923D-85D1DDF841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1588365"/>
      </p:ext>
    </p:extLst>
  </p:cSld>
  <p:clrMapOvr>
    <a:masterClrMapping/>
  </p:clrMapOvr>
  <p:hf hdr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06125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7" name="think-cell Slide" r:id="rId4" imgW="455" imgH="454" progId="TCLayout.ActiveDocument.1">
                  <p:embed/>
                </p:oleObj>
              </mc:Choice>
              <mc:Fallback>
                <p:oleObj name="think-cell Slide" r:id="rId4" imgW="455" imgH="45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resentation Footer">
            <a:extLst>
              <a:ext uri="{FF2B5EF4-FFF2-40B4-BE49-F238E27FC236}">
                <a16:creationId xmlns:a16="http://schemas.microsoft.com/office/drawing/2014/main" id="{99A7B0C4-BC7D-457C-B648-F1FE808CD66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9" name="Date">
            <a:extLst>
              <a:ext uri="{FF2B5EF4-FFF2-40B4-BE49-F238E27FC236}">
                <a16:creationId xmlns:a16="http://schemas.microsoft.com/office/drawing/2014/main" id="{CD72F5B7-8C3E-4398-BD4E-B469E5219816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0" name="Slide Number">
            <a:extLst>
              <a:ext uri="{FF2B5EF4-FFF2-40B4-BE49-F238E27FC236}">
                <a16:creationId xmlns:a16="http://schemas.microsoft.com/office/drawing/2014/main" id="{74363D4C-937A-4BA3-973F-C587E7E9FF0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9579716"/>
      </p:ext>
    </p:extLst>
  </p:cSld>
  <p:clrMapOvr>
    <a:masterClrMapping/>
  </p:clrMapOvr>
  <p:hf hdr="0"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96534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" name="think-cell Slide" r:id="rId4" imgW="455" imgH="454" progId="TCLayout.ActiveDocument.1">
                  <p:embed/>
                </p:oleObj>
              </mc:Choice>
              <mc:Fallback>
                <p:oleObj name="think-cell Slide" r:id="rId4" imgW="455" imgH="45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944202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4801"/>
            <a:ext cx="11871484" cy="194218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5059" y="2944368"/>
            <a:ext cx="11871484" cy="5703379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0" name="Presentation Footer">
            <a:extLst>
              <a:ext uri="{FF2B5EF4-FFF2-40B4-BE49-F238E27FC236}">
                <a16:creationId xmlns:a16="http://schemas.microsoft.com/office/drawing/2014/main" id="{9853FC5B-A1A5-4F7F-A104-DF817D18524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83AEF06C-AE3F-4BB4-AD32-87AFCA4C342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424280CD-7F82-4378-B4EB-A953855D63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8172084"/>
      </p:ext>
    </p:extLst>
  </p:cSld>
  <p:clrMapOvr>
    <a:masterClrMapping/>
  </p:clrMapOvr>
  <p:hf hdr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8" name="Rectangle 7"/>
          <p:cNvSpPr/>
          <p:nvPr/>
        </p:nvSpPr>
        <p:spPr bwMode="hidden">
          <a:xfrm>
            <a:off x="1" y="2944813"/>
            <a:ext cx="4170521" cy="5696267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17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78389" y="3328416"/>
            <a:ext cx="3792474" cy="2432304"/>
          </a:xfrm>
        </p:spPr>
        <p:txBody>
          <a:bodyPr tIns="0" bIns="0" anchor="t" anchorCtr="0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3600" b="1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00%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5060" y="5504688"/>
            <a:ext cx="3495435" cy="288649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</a:defRPr>
            </a:lvl1pPr>
            <a:lvl2pPr marL="18288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36576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54864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73152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5pPr>
            <a:lvl6pPr marL="91440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109728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7pPr>
            <a:lvl8pPr marL="128016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146304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543902" y="2933701"/>
            <a:ext cx="7792641" cy="5707379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sp>
        <p:nvSpPr>
          <p:cNvPr id="14" name="Presentation Footer">
            <a:extLst>
              <a:ext uri="{FF2B5EF4-FFF2-40B4-BE49-F238E27FC236}">
                <a16:creationId xmlns:a16="http://schemas.microsoft.com/office/drawing/2014/main" id="{22E99923-0EF3-4147-8318-0DCE770AA4F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5" name="Date">
            <a:extLst>
              <a:ext uri="{FF2B5EF4-FFF2-40B4-BE49-F238E27FC236}">
                <a16:creationId xmlns:a16="http://schemas.microsoft.com/office/drawing/2014/main" id="{E63AAD15-CC4C-4F4E-A7D4-8BDF4A9C4656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6" name="Slide Number">
            <a:extLst>
              <a:ext uri="{FF2B5EF4-FFF2-40B4-BE49-F238E27FC236}">
                <a16:creationId xmlns:a16="http://schemas.microsoft.com/office/drawing/2014/main" id="{F704AF40-9537-48E1-AA82-98F733AB70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44418572"/>
      </p:ext>
    </p:extLst>
  </p:cSld>
  <p:clrMapOvr>
    <a:masterClrMapping/>
  </p:clrMapOvr>
  <p:hf hdr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65058" y="2933700"/>
            <a:ext cx="3705463" cy="18669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00%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4543901" y="2933700"/>
            <a:ext cx="3710464" cy="18669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GB" dirty="0"/>
              <a:t>00%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6" hasCustomPrompt="1"/>
          </p:nvPr>
        </p:nvSpPr>
        <p:spPr>
          <a:xfrm>
            <a:off x="8633699" y="2933700"/>
            <a:ext cx="3705463" cy="18669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dirty="0"/>
              <a:t>00%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5058" y="5039359"/>
            <a:ext cx="3705463" cy="360928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904FBFED-85D0-8C43-84C6-BADD19241EDC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543902" y="5039359"/>
            <a:ext cx="3710464" cy="360928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C7D43B0B-6C29-D449-BC95-219F98DA27E0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633699" y="5039359"/>
            <a:ext cx="3705463" cy="3609280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19" name="Presentation Footer">
            <a:extLst>
              <a:ext uri="{FF2B5EF4-FFF2-40B4-BE49-F238E27FC236}">
                <a16:creationId xmlns:a16="http://schemas.microsoft.com/office/drawing/2014/main" id="{488ECE07-0F56-4D42-88E7-9EE4A6875AEC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20" name="Date">
            <a:extLst>
              <a:ext uri="{FF2B5EF4-FFF2-40B4-BE49-F238E27FC236}">
                <a16:creationId xmlns:a16="http://schemas.microsoft.com/office/drawing/2014/main" id="{92A20B44-BAC5-421A-834E-C0336D10C99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21" name="Slide Number">
            <a:extLst>
              <a:ext uri="{FF2B5EF4-FFF2-40B4-BE49-F238E27FC236}">
                <a16:creationId xmlns:a16="http://schemas.microsoft.com/office/drawing/2014/main" id="{33099B9F-B5BB-4BD7-90DF-E6FE03CA95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26635183"/>
      </p:ext>
    </p:extLst>
  </p:cSld>
  <p:clrMapOvr>
    <a:masterClrMapping/>
  </p:clrMapOvr>
  <p:hf hdr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8" name="Chart Placeholder 2"/>
          <p:cNvSpPr>
            <a:spLocks noGrp="1"/>
          </p:cNvSpPr>
          <p:nvPr>
            <p:ph type="chart" sz="quarter" idx="13"/>
          </p:nvPr>
        </p:nvSpPr>
        <p:spPr>
          <a:xfrm>
            <a:off x="465059" y="2944813"/>
            <a:ext cx="11871484" cy="5696267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chart</a:t>
            </a:r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C65B6F41-E802-4CF5-8B9F-07044F8CB1E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3213A3B9-A059-4CBD-8F51-BA0FDCD9A0FA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BD55E6CB-0F32-42F1-A94F-C799A281C5A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3523235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65060" y="600075"/>
            <a:ext cx="5747384" cy="340042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8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hank you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745B5A1-1961-2549-9AC7-6FB51905A5F2}"/>
              </a:ext>
            </a:extLst>
          </p:cNvPr>
          <p:cNvSpPr txBox="1"/>
          <p:nvPr userDrawn="1"/>
        </p:nvSpPr>
        <p:spPr>
          <a:xfrm>
            <a:off x="465059" y="6160768"/>
            <a:ext cx="5747384" cy="47669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GB" sz="1200" dirty="0">
                <a:solidFill>
                  <a:schemeClr val="tx1"/>
                </a:solidFill>
              </a:rPr>
              <a:t>pwc.com</a:t>
            </a:r>
          </a:p>
        </p:txBody>
      </p:sp>
      <p:sp>
        <p:nvSpPr>
          <p:cNvPr id="14" name="Rectangle 13"/>
          <p:cNvSpPr/>
          <p:nvPr/>
        </p:nvSpPr>
        <p:spPr bwMode="hidden">
          <a:xfrm>
            <a:off x="0" y="6917196"/>
            <a:ext cx="12801600" cy="2684004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117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65058" y="7363440"/>
            <a:ext cx="11871485" cy="2032254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GB" dirty="0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600700" y="0"/>
            <a:ext cx="7200900" cy="9601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117" dirty="0"/>
          </a:p>
        </p:txBody>
      </p:sp>
    </p:spTree>
    <p:extLst>
      <p:ext uri="{BB962C8B-B14F-4D97-AF65-F5344CB8AC3E}">
        <p14:creationId xmlns:p14="http://schemas.microsoft.com/office/powerpoint/2010/main" val="3270651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98984" y="2944814"/>
            <a:ext cx="5183491" cy="3589971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[Section header title]</a:t>
            </a:r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id="{A1971A9E-1347-2E4A-8F01-32BA5D5488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5058" y="0"/>
            <a:ext cx="4562236" cy="96012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4986707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198984" y="2944814"/>
            <a:ext cx="5183491" cy="3589971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[Section header title]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5058" y="0"/>
            <a:ext cx="4562236" cy="96012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9839043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198984" y="2944814"/>
            <a:ext cx="5183491" cy="3589971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[Section header title]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96D911B5-C441-B44D-9980-56426B1A19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5058" y="0"/>
            <a:ext cx="4562236" cy="96012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98334476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5198984" y="2944814"/>
            <a:ext cx="5183491" cy="3589971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[Section header title]</a:t>
            </a:r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4F941B13-F925-1C4F-8990-F4149ED1B1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65058" y="0"/>
            <a:ext cx="4562236" cy="96012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GB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8339480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Manual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E9D68526-5625-1E4A-90D0-6166C1CB0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059" y="600075"/>
            <a:ext cx="1443180" cy="2752344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3123667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Manual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7054294-58FB-3646-A032-19FD697995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059" y="600075"/>
            <a:ext cx="1443180" cy="2752344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24018944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2720"/>
            <a:ext cx="11871484" cy="704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65058" y="1306806"/>
            <a:ext cx="11871485" cy="1240179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5059" y="2944813"/>
            <a:ext cx="11871484" cy="569626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C0A96048-10F2-4224-818D-5BECEE16847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C1F41BA3-BD4F-444B-8A48-A3CC74630D9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E362C54E-6F95-4E35-B11E-0FA6890BB97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663278"/>
      </p:ext>
    </p:extLst>
  </p:cSld>
  <p:clrMapOvr>
    <a:masterClrMapping/>
  </p:clrMapOvr>
  <p:hf hdr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 Manual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0F4BCE9-03B0-5C4D-A70B-519F67263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059" y="600075"/>
            <a:ext cx="1443180" cy="2752344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47774981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 Manual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CD146EE5-5980-A84E-9311-F5B9956E4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5059" y="600075"/>
            <a:ext cx="1443180" cy="2752344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GB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8422592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Full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801600" cy="96012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1600200"/>
            <a:ext cx="4800600" cy="6400800"/>
          </a:xfrm>
          <a:solidFill>
            <a:srgbClr val="E0301E"/>
          </a:solidFill>
        </p:spPr>
        <p:txBody>
          <a:bodyPr lIns="438912" tIns="1440000" rIns="252000" bIns="180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0"/>
              </a:spcAft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id="{5E9DA768-B963-3547-B650-2E77ED7439D3}"/>
              </a:ext>
            </a:extLst>
          </p:cNvPr>
          <p:cNvSpPr>
            <a:spLocks noChangeAspect="1" noEditPoints="1"/>
          </p:cNvSpPr>
          <p:nvPr userDrawn="1"/>
        </p:nvSpPr>
        <p:spPr bwMode="white">
          <a:xfrm>
            <a:off x="465059" y="2273184"/>
            <a:ext cx="915115" cy="95123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117" dirty="0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A1D36D47-D12A-3142-B681-815978E85E7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042CAE4-1315-134B-A97D-6331422E40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751649C-08F4-D84A-9E3B-1FCB427D60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661123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  <p:extLst mod="1"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400800" y="0"/>
            <a:ext cx="6400800" cy="96012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5059" y="2400300"/>
            <a:ext cx="5564363" cy="624078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65059" y="961801"/>
            <a:ext cx="915115" cy="95123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117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8ACB6F4-A2A7-6E4D-A8EB-50B5B35AAD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7FC6095-B1C7-6143-B9FD-C545A6D0357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F7A802-0AAE-FA43-8858-03590E76403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24515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  <p:extLst mod="1"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400800" y="0"/>
            <a:ext cx="6400800" cy="96012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lick icon to add pictu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5059" y="2400300"/>
            <a:ext cx="5564363" cy="624078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751F50DC-1032-F848-8EFD-503462F6015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65059" y="961801"/>
            <a:ext cx="915115" cy="95123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117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618CEB-562C-EF47-A905-BA1BD3BB0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7BEC181-486E-E441-8900-B8446C2DF2C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1E6323-CD0D-424F-880F-55737281900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12302821"/>
      </p:ext>
    </p:extLst>
  </p:cSld>
  <p:clrMapOvr>
    <a:masterClrMapping/>
  </p:clrMapOvr>
  <p:hf hdr="0"/>
  <p:extLst mod="1">
    <p:ext uri="{DCECCB84-F9BA-43D5-87BE-67443E8EF086}">
      <p15:sldGuideLst xmlns:p15="http://schemas.microsoft.com/office/powerpoint/2012/main"/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5060" y="3184398"/>
            <a:ext cx="10017384" cy="5456682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7AD3661-A443-F74F-9528-11F7BA264B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65059" y="1908143"/>
            <a:ext cx="915115" cy="95123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117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5DC986-4502-464F-A426-50A70EA2E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E17195B-4456-9145-8D6E-97A5EBDF80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67263F-492F-7F4E-9E89-2A38E1B27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96399799"/>
      </p:ext>
    </p:extLst>
  </p:cSld>
  <p:clrMapOvr>
    <a:masterClrMapping/>
  </p:clrMapOvr>
  <p:hf hdr="0"/>
  <p:extLst mod="1"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5060" y="3184398"/>
            <a:ext cx="10017384" cy="5456682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id="{753C6A26-069C-C142-8C96-315DE67FAD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65059" y="1908143"/>
            <a:ext cx="915115" cy="95123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117" dirty="0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F95925A0-A65A-B94F-AD42-4A17D5E9B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01CB2D71-BA29-2E4C-A7F8-AB7C48FCE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1E0FBAD1-BD7F-C249-B609-9F42DAA28A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93109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5060" y="3184398"/>
            <a:ext cx="10017384" cy="5456682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75C37678-6A0A-C84B-9A52-9B7F891FFFD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65059" y="1908143"/>
            <a:ext cx="915115" cy="95123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117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5944E79-860F-9542-986D-3F487E112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503EA61-A2A9-8D46-A8C8-F5D81CC931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4410A1E-B181-CB46-A25E-398B598C5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384064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5060" y="3184398"/>
            <a:ext cx="10017384" cy="5456682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F3D58181-4255-CF4B-AEC5-6ADD879A60CA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65059" y="1908143"/>
            <a:ext cx="915115" cy="95123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117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DF2FE2-E936-7745-91D2-A6D8CA7F5D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54FEE05-057D-214D-903C-F8FD6A36D2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DD12AF3-FC08-E446-85E1-796189A84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10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5060" y="3184398"/>
            <a:ext cx="10017384" cy="5456682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056180B7-FBDB-F345-B5D1-21FE86D79BA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65059" y="1908143"/>
            <a:ext cx="915115" cy="95123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2117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BB60EFE-B508-D848-9B02-A73119F18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3B4447-C39F-954F-B842-43560F6E9D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9D7BB50-999D-5745-BB53-011066651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5761412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4801"/>
            <a:ext cx="11871484" cy="194218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5060" y="2944813"/>
            <a:ext cx="3705463" cy="5696267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0" name="Presentation Footer">
            <a:extLst>
              <a:ext uri="{FF2B5EF4-FFF2-40B4-BE49-F238E27FC236}">
                <a16:creationId xmlns:a16="http://schemas.microsoft.com/office/drawing/2014/main" id="{7B52BB9D-0714-41EB-A065-3C9301AC9AF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1" name="Date">
            <a:extLst>
              <a:ext uri="{FF2B5EF4-FFF2-40B4-BE49-F238E27FC236}">
                <a16:creationId xmlns:a16="http://schemas.microsoft.com/office/drawing/2014/main" id="{4CDD38BF-B105-49DA-8707-FF2BB7A24DF7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2" name="Slide Number">
            <a:extLst>
              <a:ext uri="{FF2B5EF4-FFF2-40B4-BE49-F238E27FC236}">
                <a16:creationId xmlns:a16="http://schemas.microsoft.com/office/drawing/2014/main" id="{D6F070B6-A4B1-450C-9787-CEE408FDB21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4721411"/>
      </p:ext>
    </p:extLst>
  </p:cSld>
  <p:clrMapOvr>
    <a:masterClrMapping/>
  </p:clrMapOvr>
  <p:hf hdr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2720"/>
            <a:ext cx="11871484" cy="704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C758DF0-2055-C446-AF59-8BED8AF86DA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65058" y="1306806"/>
            <a:ext cx="11871485" cy="1240179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5060" y="2944813"/>
            <a:ext cx="3705463" cy="569626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Presentation Footer">
            <a:extLst>
              <a:ext uri="{FF2B5EF4-FFF2-40B4-BE49-F238E27FC236}">
                <a16:creationId xmlns:a16="http://schemas.microsoft.com/office/drawing/2014/main" id="{AD04E10A-3CEF-447C-885A-911D22505435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3" name="Date">
            <a:extLst>
              <a:ext uri="{FF2B5EF4-FFF2-40B4-BE49-F238E27FC236}">
                <a16:creationId xmlns:a16="http://schemas.microsoft.com/office/drawing/2014/main" id="{26D0D962-572E-435C-BDA7-54D718BEA5C1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4" name="Slide Number">
            <a:extLst>
              <a:ext uri="{FF2B5EF4-FFF2-40B4-BE49-F238E27FC236}">
                <a16:creationId xmlns:a16="http://schemas.microsoft.com/office/drawing/2014/main" id="{6DA80911-AAEC-40A3-90D1-AF7AD8369F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233039"/>
      </p:ext>
    </p:extLst>
  </p:cSld>
  <p:clrMapOvr>
    <a:masterClrMapping/>
  </p:clrMapOvr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65060" y="2944813"/>
            <a:ext cx="3705463" cy="569626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3" name="Presentation Footer">
            <a:extLst>
              <a:ext uri="{FF2B5EF4-FFF2-40B4-BE49-F238E27FC236}">
                <a16:creationId xmlns:a16="http://schemas.microsoft.com/office/drawing/2014/main" id="{E542CCAF-6994-4C2E-A29F-F9E9E6F7953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8B579EE4-B6F2-46DD-AB07-6E80B1CEEAEB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9C500E16-A5D2-464A-BABA-F48C4283BAB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677468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4801"/>
            <a:ext cx="11871484" cy="1942185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5059" y="2944814"/>
            <a:ext cx="5747385" cy="5696265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589157" y="2944813"/>
            <a:ext cx="5747385" cy="569626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1" name="Presentation Footer">
            <a:extLst>
              <a:ext uri="{FF2B5EF4-FFF2-40B4-BE49-F238E27FC236}">
                <a16:creationId xmlns:a16="http://schemas.microsoft.com/office/drawing/2014/main" id="{E7ED5D26-0F4E-4435-AE02-4BF450400824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2" name="Date">
            <a:extLst>
              <a:ext uri="{FF2B5EF4-FFF2-40B4-BE49-F238E27FC236}">
                <a16:creationId xmlns:a16="http://schemas.microsoft.com/office/drawing/2014/main" id="{25C81924-25E8-4886-B2A4-3E64CBC6F558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3" name="Slide Number">
            <a:extLst>
              <a:ext uri="{FF2B5EF4-FFF2-40B4-BE49-F238E27FC236}">
                <a16:creationId xmlns:a16="http://schemas.microsoft.com/office/drawing/2014/main" id="{71D092D2-EB9A-42A2-9448-EC3149819AD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5727502"/>
      </p:ext>
    </p:extLst>
  </p:cSld>
  <p:clrMapOvr>
    <a:masterClrMapping/>
  </p:clrMapOvr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65059" y="602720"/>
            <a:ext cx="11871484" cy="704088"/>
          </a:xfrm>
        </p:spPr>
        <p:txBody>
          <a:bodyPr/>
          <a:lstStyle>
            <a:lvl1pPr>
              <a:defRPr/>
            </a:lvl1pPr>
          </a:lstStyle>
          <a:p>
            <a:r>
              <a:rPr lang="en-GB" dirty="0"/>
              <a:t>[Slide title]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2E0820E-E86A-4245-AF6A-000EBF442F6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65058" y="1306806"/>
            <a:ext cx="11871485" cy="1240179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GB" dirty="0"/>
              <a:t>[Optional slide subtitle]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65059" y="2944814"/>
            <a:ext cx="5747385" cy="569626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589158" y="2944813"/>
            <a:ext cx="5747384" cy="5696265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3" name="Presentation Footer">
            <a:extLst>
              <a:ext uri="{FF2B5EF4-FFF2-40B4-BE49-F238E27FC236}">
                <a16:creationId xmlns:a16="http://schemas.microsoft.com/office/drawing/2014/main" id="{067D2AEA-341E-4BEC-9DE2-87F1D311F51B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465058" y="8897112"/>
            <a:ext cx="5747386" cy="192024"/>
          </a:xfrm>
        </p:spPr>
        <p:txBody>
          <a:bodyPr/>
          <a:lstStyle/>
          <a:p>
            <a:pPr algn="l"/>
            <a:endParaRPr lang="en-GB" dirty="0"/>
          </a:p>
        </p:txBody>
      </p:sp>
      <p:sp>
        <p:nvSpPr>
          <p:cNvPr id="14" name="Date">
            <a:extLst>
              <a:ext uri="{FF2B5EF4-FFF2-40B4-BE49-F238E27FC236}">
                <a16:creationId xmlns:a16="http://schemas.microsoft.com/office/drawing/2014/main" id="{FFDA629C-04CF-4329-A513-8273BEBC5E42}"/>
              </a:ext>
            </a:extLst>
          </p:cNvPr>
          <p:cNvSpPr>
            <a:spLocks noGrp="1"/>
          </p:cNvSpPr>
          <p:nvPr>
            <p:ph type="dt" sz="half" idx="12"/>
          </p:nvPr>
        </p:nvSpPr>
        <p:spPr>
          <a:xfrm>
            <a:off x="10483511" y="8897112"/>
            <a:ext cx="1853032" cy="192024"/>
          </a:xfrm>
        </p:spPr>
        <p:txBody>
          <a:bodyPr/>
          <a:lstStyle/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C3EEAEFD-4D96-414E-BFBD-5330580641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483511" y="9089136"/>
            <a:ext cx="1853032" cy="192024"/>
          </a:xfrm>
        </p:spPr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1426661"/>
      </p:ext>
    </p:extLst>
  </p:cSld>
  <p:clrMapOvr>
    <a:masterClrMapping/>
  </p:clrMapOvr>
  <p:hf hdr="0"/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54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52"/>
            </p:custDataLst>
            <p:extLst>
              <p:ext uri="{D42A27DB-BD31-4B8C-83A1-F6EECF244321}">
                <p14:modId xmlns:p14="http://schemas.microsoft.com/office/powerpoint/2010/main" val="42444289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8" name="think-cell Slide" r:id="rId53" imgW="455" imgH="454" progId="TCLayout.ActiveDocument.1">
                  <p:embed/>
                </p:oleObj>
              </mc:Choice>
              <mc:Fallback>
                <p:oleObj name="think-cell Slide" r:id="rId53" imgW="455" imgH="45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65059" y="604801"/>
            <a:ext cx="11871484" cy="194218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GB" dirty="0"/>
              <a:t>[Slide title]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5059" y="2944813"/>
            <a:ext cx="11871484" cy="56962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dirty="0"/>
              <a:t>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" name="Presentation Footer">
            <a:extLst>
              <a:ext uri="{FF2B5EF4-FFF2-40B4-BE49-F238E27FC236}">
                <a16:creationId xmlns:a16="http://schemas.microsoft.com/office/drawing/2014/main" id="{BE929DBE-EF12-9845-B0FD-DF795B823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65058" y="8897112"/>
            <a:ext cx="5747386" cy="19202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pPr algn="l"/>
            <a:endParaRPr lang="en-GB" dirty="0"/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CAC161DD-0A25-2B4E-956E-04296B5905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0483511" y="8897112"/>
            <a:ext cx="1853032" cy="192024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GB"/>
              <a:t>June 2019</a:t>
            </a:r>
            <a:endParaRPr lang="en-GB" dirty="0"/>
          </a:p>
        </p:txBody>
      </p:sp>
      <p:sp>
        <p:nvSpPr>
          <p:cNvPr id="8" name="PwCFirm"/>
          <p:cNvSpPr txBox="1"/>
          <p:nvPr/>
        </p:nvSpPr>
        <p:spPr>
          <a:xfrm>
            <a:off x="465059" y="9089136"/>
            <a:ext cx="5747385" cy="192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750" b="0" dirty="0">
                <a:solidFill>
                  <a:schemeClr val="tx1"/>
                </a:solidFill>
              </a:rPr>
              <a:t>PwC</a:t>
            </a:r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10483511" y="9089136"/>
            <a:ext cx="1853032" cy="19202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1101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5" r:id="rId1"/>
    <p:sldLayoutId id="2147483740" r:id="rId2"/>
    <p:sldLayoutId id="2147483742" r:id="rId3"/>
    <p:sldLayoutId id="2147483754" r:id="rId4"/>
    <p:sldLayoutId id="2147483743" r:id="rId5"/>
    <p:sldLayoutId id="2147483755" r:id="rId6"/>
    <p:sldLayoutId id="2147483767" r:id="rId7"/>
    <p:sldLayoutId id="2147483744" r:id="rId8"/>
    <p:sldLayoutId id="2147483756" r:id="rId9"/>
    <p:sldLayoutId id="2147483745" r:id="rId10"/>
    <p:sldLayoutId id="2147483757" r:id="rId11"/>
    <p:sldLayoutId id="2147483746" r:id="rId12"/>
    <p:sldLayoutId id="2147483758" r:id="rId13"/>
    <p:sldLayoutId id="2147483747" r:id="rId14"/>
    <p:sldLayoutId id="2147483759" r:id="rId15"/>
    <p:sldLayoutId id="2147483748" r:id="rId16"/>
    <p:sldLayoutId id="2147483760" r:id="rId17"/>
    <p:sldLayoutId id="2147483749" r:id="rId18"/>
    <p:sldLayoutId id="2147483761" r:id="rId19"/>
    <p:sldLayoutId id="2147483750" r:id="rId20"/>
    <p:sldLayoutId id="2147483762" r:id="rId21"/>
    <p:sldLayoutId id="2147483751" r:id="rId22"/>
    <p:sldLayoutId id="2147483763" r:id="rId23"/>
    <p:sldLayoutId id="2147483752" r:id="rId24"/>
    <p:sldLayoutId id="2147483764" r:id="rId25"/>
    <p:sldLayoutId id="2147483768" r:id="rId26"/>
    <p:sldLayoutId id="2147483786" r:id="rId27"/>
    <p:sldLayoutId id="2147483787" r:id="rId28"/>
    <p:sldLayoutId id="2147483790" r:id="rId29"/>
    <p:sldLayoutId id="2147483765" r:id="rId30"/>
    <p:sldLayoutId id="2147483766" r:id="rId31"/>
    <p:sldLayoutId id="2147483769" r:id="rId32"/>
    <p:sldLayoutId id="2147483789" r:id="rId33"/>
    <p:sldLayoutId id="2147483791" r:id="rId34"/>
    <p:sldLayoutId id="2147483792" r:id="rId35"/>
    <p:sldLayoutId id="2147483793" r:id="rId36"/>
    <p:sldLayoutId id="2147483794" r:id="rId37"/>
    <p:sldLayoutId id="2147483795" r:id="rId38"/>
    <p:sldLayoutId id="2147483796" r:id="rId39"/>
    <p:sldLayoutId id="2147483797" r:id="rId40"/>
    <p:sldLayoutId id="2147483798" r:id="rId41"/>
    <p:sldLayoutId id="2147483799" r:id="rId42"/>
    <p:sldLayoutId id="2147483800" r:id="rId43"/>
    <p:sldLayoutId id="2147483801" r:id="rId44"/>
    <p:sldLayoutId id="2147483802" r:id="rId45"/>
    <p:sldLayoutId id="2147483803" r:id="rId46"/>
    <p:sldLayoutId id="2147483804" r:id="rId47"/>
    <p:sldLayoutId id="2147483805" r:id="rId48"/>
    <p:sldLayoutId id="2147483806" r:id="rId49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pos="4032" userDrawn="1">
          <p15:clr>
            <a:srgbClr val="F26B43"/>
          </p15:clr>
        </p15:guide>
        <p15:guide id="1" pos="293" userDrawn="1">
          <p15:clr>
            <a:srgbClr val="F26B43"/>
          </p15:clr>
        </p15:guide>
        <p15:guide id="2" pos="7771" userDrawn="1">
          <p15:clr>
            <a:srgbClr val="F26B43"/>
          </p15:clr>
        </p15:guide>
        <p15:guide id="3" pos="4151" userDrawn="1">
          <p15:clr>
            <a:srgbClr val="F26B43"/>
          </p15:clr>
        </p15:guide>
        <p15:guide id="4" pos="3913" userDrawn="1">
          <p15:clr>
            <a:srgbClr val="F26B43"/>
          </p15:clr>
        </p15:guide>
        <p15:guide id="5" orient="horz" pos="5443" userDrawn="1">
          <p15:clr>
            <a:srgbClr val="F26B43"/>
          </p15:clr>
        </p15:guide>
        <p15:guide id="6" pos="2862" userDrawn="1">
          <p15:clr>
            <a:srgbClr val="F26B43"/>
          </p15:clr>
        </p15:guide>
        <p15:guide id="7" pos="2627" userDrawn="1">
          <p15:clr>
            <a:srgbClr val="F26B43"/>
          </p15:clr>
        </p15:guide>
        <p15:guide id="8" pos="5200" userDrawn="1">
          <p15:clr>
            <a:srgbClr val="F26B43"/>
          </p15:clr>
        </p15:guide>
        <p15:guide id="9" pos="5436" userDrawn="1">
          <p15:clr>
            <a:srgbClr val="F26B43"/>
          </p15:clr>
        </p15:guide>
        <p15:guide id="10" orient="horz" pos="3024" userDrawn="1">
          <p15:clr>
            <a:srgbClr val="F26B43"/>
          </p15:clr>
        </p15:guide>
        <p15:guide id="11" orient="horz" pos="1855" userDrawn="1">
          <p15:clr>
            <a:srgbClr val="F26B43"/>
          </p15:clr>
        </p15:guide>
        <p15:guide id="12" orient="horz" pos="1604" userDrawn="1">
          <p15:clr>
            <a:srgbClr val="F26B43"/>
          </p15:clr>
        </p15:guide>
        <p15:guide id="13" orient="horz" pos="37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9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/>
          <p:cNvGrpSpPr/>
          <p:nvPr/>
        </p:nvGrpSpPr>
        <p:grpSpPr>
          <a:xfrm>
            <a:off x="285629" y="545910"/>
            <a:ext cx="12244857" cy="8282492"/>
            <a:chOff x="454178" y="592676"/>
            <a:chExt cx="11909425" cy="8055604"/>
          </a:xfrm>
        </p:grpSpPr>
        <p:sp>
          <p:nvSpPr>
            <p:cNvPr id="3" name="Freeform 8"/>
            <p:cNvSpPr>
              <a:spLocks noChangeAspect="1" noEditPoints="1"/>
            </p:cNvSpPr>
            <p:nvPr/>
          </p:nvSpPr>
          <p:spPr bwMode="auto">
            <a:xfrm>
              <a:off x="5679884" y="3990476"/>
              <a:ext cx="1441833" cy="1441833"/>
            </a:xfrm>
            <a:custGeom>
              <a:avLst/>
              <a:gdLst>
                <a:gd name="T0" fmla="*/ 0 w 346"/>
                <a:gd name="T1" fmla="*/ 0 h 346"/>
                <a:gd name="T2" fmla="*/ 0 w 346"/>
                <a:gd name="T3" fmla="*/ 346 h 346"/>
                <a:gd name="T4" fmla="*/ 54 w 346"/>
                <a:gd name="T5" fmla="*/ 346 h 346"/>
                <a:gd name="T6" fmla="*/ 64 w 346"/>
                <a:gd name="T7" fmla="*/ 268 h 346"/>
                <a:gd name="T8" fmla="*/ 91 w 346"/>
                <a:gd name="T9" fmla="*/ 241 h 346"/>
                <a:gd name="T10" fmla="*/ 143 w 346"/>
                <a:gd name="T11" fmla="*/ 223 h 346"/>
                <a:gd name="T12" fmla="*/ 145 w 346"/>
                <a:gd name="T13" fmla="*/ 224 h 346"/>
                <a:gd name="T14" fmla="*/ 149 w 346"/>
                <a:gd name="T15" fmla="*/ 228 h 346"/>
                <a:gd name="T16" fmla="*/ 173 w 346"/>
                <a:gd name="T17" fmla="*/ 238 h 346"/>
                <a:gd name="T18" fmla="*/ 197 w 346"/>
                <a:gd name="T19" fmla="*/ 228 h 346"/>
                <a:gd name="T20" fmla="*/ 201 w 346"/>
                <a:gd name="T21" fmla="*/ 224 h 346"/>
                <a:gd name="T22" fmla="*/ 203 w 346"/>
                <a:gd name="T23" fmla="*/ 223 h 346"/>
                <a:gd name="T24" fmla="*/ 255 w 346"/>
                <a:gd name="T25" fmla="*/ 241 h 346"/>
                <a:gd name="T26" fmla="*/ 282 w 346"/>
                <a:gd name="T27" fmla="*/ 268 h 346"/>
                <a:gd name="T28" fmla="*/ 292 w 346"/>
                <a:gd name="T29" fmla="*/ 346 h 346"/>
                <a:gd name="T30" fmla="*/ 346 w 346"/>
                <a:gd name="T31" fmla="*/ 346 h 346"/>
                <a:gd name="T32" fmla="*/ 346 w 346"/>
                <a:gd name="T33" fmla="*/ 0 h 346"/>
                <a:gd name="T34" fmla="*/ 0 w 346"/>
                <a:gd name="T35" fmla="*/ 0 h 346"/>
                <a:gd name="T36" fmla="*/ 331 w 346"/>
                <a:gd name="T37" fmla="*/ 331 h 346"/>
                <a:gd name="T38" fmla="*/ 305 w 346"/>
                <a:gd name="T39" fmla="*/ 331 h 346"/>
                <a:gd name="T40" fmla="*/ 296 w 346"/>
                <a:gd name="T41" fmla="*/ 266 h 346"/>
                <a:gd name="T42" fmla="*/ 296 w 346"/>
                <a:gd name="T43" fmla="*/ 264 h 346"/>
                <a:gd name="T44" fmla="*/ 259 w 346"/>
                <a:gd name="T45" fmla="*/ 227 h 346"/>
                <a:gd name="T46" fmla="*/ 208 w 346"/>
                <a:gd name="T47" fmla="*/ 209 h 346"/>
                <a:gd name="T48" fmla="*/ 190 w 346"/>
                <a:gd name="T49" fmla="*/ 213 h 346"/>
                <a:gd name="T50" fmla="*/ 186 w 346"/>
                <a:gd name="T51" fmla="*/ 217 h 346"/>
                <a:gd name="T52" fmla="*/ 173 w 346"/>
                <a:gd name="T53" fmla="*/ 223 h 346"/>
                <a:gd name="T54" fmla="*/ 159 w 346"/>
                <a:gd name="T55" fmla="*/ 217 h 346"/>
                <a:gd name="T56" fmla="*/ 155 w 346"/>
                <a:gd name="T57" fmla="*/ 213 h 346"/>
                <a:gd name="T58" fmla="*/ 138 w 346"/>
                <a:gd name="T59" fmla="*/ 209 h 346"/>
                <a:gd name="T60" fmla="*/ 86 w 346"/>
                <a:gd name="T61" fmla="*/ 227 h 346"/>
                <a:gd name="T62" fmla="*/ 49 w 346"/>
                <a:gd name="T63" fmla="*/ 264 h 346"/>
                <a:gd name="T64" fmla="*/ 41 w 346"/>
                <a:gd name="T65" fmla="*/ 331 h 346"/>
                <a:gd name="T66" fmla="*/ 14 w 346"/>
                <a:gd name="T67" fmla="*/ 331 h 346"/>
                <a:gd name="T68" fmla="*/ 14 w 346"/>
                <a:gd name="T69" fmla="*/ 14 h 346"/>
                <a:gd name="T70" fmla="*/ 331 w 346"/>
                <a:gd name="T71" fmla="*/ 14 h 346"/>
                <a:gd name="T72" fmla="*/ 331 w 346"/>
                <a:gd name="T73" fmla="*/ 331 h 346"/>
                <a:gd name="T74" fmla="*/ 173 w 346"/>
                <a:gd name="T75" fmla="*/ 201 h 346"/>
                <a:gd name="T76" fmla="*/ 204 w 346"/>
                <a:gd name="T77" fmla="*/ 184 h 346"/>
                <a:gd name="T78" fmla="*/ 220 w 346"/>
                <a:gd name="T79" fmla="*/ 124 h 346"/>
                <a:gd name="T80" fmla="*/ 173 w 346"/>
                <a:gd name="T81" fmla="*/ 73 h 346"/>
                <a:gd name="T82" fmla="*/ 126 w 346"/>
                <a:gd name="T83" fmla="*/ 124 h 346"/>
                <a:gd name="T84" fmla="*/ 142 w 346"/>
                <a:gd name="T85" fmla="*/ 184 h 346"/>
                <a:gd name="T86" fmla="*/ 173 w 346"/>
                <a:gd name="T87" fmla="*/ 201 h 346"/>
                <a:gd name="T88" fmla="*/ 173 w 346"/>
                <a:gd name="T89" fmla="*/ 88 h 346"/>
                <a:gd name="T90" fmla="*/ 205 w 346"/>
                <a:gd name="T91" fmla="*/ 124 h 346"/>
                <a:gd name="T92" fmla="*/ 193 w 346"/>
                <a:gd name="T93" fmla="*/ 174 h 346"/>
                <a:gd name="T94" fmla="*/ 173 w 346"/>
                <a:gd name="T95" fmla="*/ 187 h 346"/>
                <a:gd name="T96" fmla="*/ 153 w 346"/>
                <a:gd name="T97" fmla="*/ 174 h 346"/>
                <a:gd name="T98" fmla="*/ 141 w 346"/>
                <a:gd name="T99" fmla="*/ 124 h 346"/>
                <a:gd name="T100" fmla="*/ 173 w 346"/>
                <a:gd name="T101" fmla="*/ 8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6" h="346">
                  <a:moveTo>
                    <a:pt x="0" y="0"/>
                  </a:moveTo>
                  <a:cubicBezTo>
                    <a:pt x="0" y="346"/>
                    <a:pt x="0" y="346"/>
                    <a:pt x="0" y="346"/>
                  </a:cubicBezTo>
                  <a:cubicBezTo>
                    <a:pt x="54" y="346"/>
                    <a:pt x="54" y="346"/>
                    <a:pt x="54" y="346"/>
                  </a:cubicBezTo>
                  <a:cubicBezTo>
                    <a:pt x="64" y="268"/>
                    <a:pt x="64" y="268"/>
                    <a:pt x="64" y="268"/>
                  </a:cubicBezTo>
                  <a:cubicBezTo>
                    <a:pt x="68" y="255"/>
                    <a:pt x="78" y="245"/>
                    <a:pt x="91" y="241"/>
                  </a:cubicBezTo>
                  <a:cubicBezTo>
                    <a:pt x="143" y="223"/>
                    <a:pt x="143" y="223"/>
                    <a:pt x="143" y="223"/>
                  </a:cubicBezTo>
                  <a:cubicBezTo>
                    <a:pt x="143" y="223"/>
                    <a:pt x="144" y="223"/>
                    <a:pt x="145" y="224"/>
                  </a:cubicBezTo>
                  <a:cubicBezTo>
                    <a:pt x="149" y="228"/>
                    <a:pt x="149" y="228"/>
                    <a:pt x="149" y="228"/>
                  </a:cubicBezTo>
                  <a:cubicBezTo>
                    <a:pt x="155" y="234"/>
                    <a:pt x="164" y="238"/>
                    <a:pt x="173" y="238"/>
                  </a:cubicBezTo>
                  <a:cubicBezTo>
                    <a:pt x="182" y="238"/>
                    <a:pt x="191" y="234"/>
                    <a:pt x="197" y="228"/>
                  </a:cubicBezTo>
                  <a:cubicBezTo>
                    <a:pt x="201" y="224"/>
                    <a:pt x="201" y="224"/>
                    <a:pt x="201" y="224"/>
                  </a:cubicBezTo>
                  <a:cubicBezTo>
                    <a:pt x="202" y="223"/>
                    <a:pt x="202" y="223"/>
                    <a:pt x="203" y="223"/>
                  </a:cubicBezTo>
                  <a:cubicBezTo>
                    <a:pt x="255" y="241"/>
                    <a:pt x="255" y="241"/>
                    <a:pt x="255" y="241"/>
                  </a:cubicBezTo>
                  <a:cubicBezTo>
                    <a:pt x="267" y="245"/>
                    <a:pt x="278" y="255"/>
                    <a:pt x="282" y="268"/>
                  </a:cubicBezTo>
                  <a:cubicBezTo>
                    <a:pt x="292" y="346"/>
                    <a:pt x="292" y="346"/>
                    <a:pt x="292" y="346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0"/>
                    <a:pt x="346" y="0"/>
                    <a:pt x="346" y="0"/>
                  </a:cubicBezTo>
                  <a:lnTo>
                    <a:pt x="0" y="0"/>
                  </a:lnTo>
                  <a:close/>
                  <a:moveTo>
                    <a:pt x="331" y="331"/>
                  </a:moveTo>
                  <a:cubicBezTo>
                    <a:pt x="305" y="331"/>
                    <a:pt x="305" y="331"/>
                    <a:pt x="305" y="331"/>
                  </a:cubicBezTo>
                  <a:cubicBezTo>
                    <a:pt x="296" y="266"/>
                    <a:pt x="296" y="266"/>
                    <a:pt x="296" y="266"/>
                  </a:cubicBezTo>
                  <a:cubicBezTo>
                    <a:pt x="296" y="264"/>
                    <a:pt x="296" y="264"/>
                    <a:pt x="296" y="264"/>
                  </a:cubicBezTo>
                  <a:cubicBezTo>
                    <a:pt x="291" y="247"/>
                    <a:pt x="277" y="233"/>
                    <a:pt x="259" y="227"/>
                  </a:cubicBezTo>
                  <a:cubicBezTo>
                    <a:pt x="208" y="209"/>
                    <a:pt x="208" y="209"/>
                    <a:pt x="208" y="209"/>
                  </a:cubicBezTo>
                  <a:cubicBezTo>
                    <a:pt x="202" y="207"/>
                    <a:pt x="195" y="209"/>
                    <a:pt x="190" y="213"/>
                  </a:cubicBezTo>
                  <a:cubicBezTo>
                    <a:pt x="186" y="217"/>
                    <a:pt x="186" y="217"/>
                    <a:pt x="186" y="217"/>
                  </a:cubicBezTo>
                  <a:cubicBezTo>
                    <a:pt x="183" y="221"/>
                    <a:pt x="178" y="223"/>
                    <a:pt x="173" y="223"/>
                  </a:cubicBezTo>
                  <a:cubicBezTo>
                    <a:pt x="168" y="223"/>
                    <a:pt x="163" y="221"/>
                    <a:pt x="159" y="217"/>
                  </a:cubicBezTo>
                  <a:cubicBezTo>
                    <a:pt x="155" y="213"/>
                    <a:pt x="155" y="213"/>
                    <a:pt x="155" y="213"/>
                  </a:cubicBezTo>
                  <a:cubicBezTo>
                    <a:pt x="151" y="209"/>
                    <a:pt x="144" y="207"/>
                    <a:pt x="138" y="209"/>
                  </a:cubicBezTo>
                  <a:cubicBezTo>
                    <a:pt x="86" y="227"/>
                    <a:pt x="86" y="227"/>
                    <a:pt x="86" y="227"/>
                  </a:cubicBezTo>
                  <a:cubicBezTo>
                    <a:pt x="69" y="233"/>
                    <a:pt x="55" y="247"/>
                    <a:pt x="49" y="264"/>
                  </a:cubicBezTo>
                  <a:cubicBezTo>
                    <a:pt x="41" y="331"/>
                    <a:pt x="41" y="331"/>
                    <a:pt x="41" y="331"/>
                  </a:cubicBezTo>
                  <a:cubicBezTo>
                    <a:pt x="14" y="331"/>
                    <a:pt x="14" y="331"/>
                    <a:pt x="14" y="331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331" y="14"/>
                    <a:pt x="331" y="14"/>
                    <a:pt x="331" y="14"/>
                  </a:cubicBezTo>
                  <a:lnTo>
                    <a:pt x="331" y="331"/>
                  </a:lnTo>
                  <a:close/>
                  <a:moveTo>
                    <a:pt x="173" y="201"/>
                  </a:moveTo>
                  <a:cubicBezTo>
                    <a:pt x="187" y="201"/>
                    <a:pt x="195" y="193"/>
                    <a:pt x="204" y="184"/>
                  </a:cubicBezTo>
                  <a:cubicBezTo>
                    <a:pt x="214" y="172"/>
                    <a:pt x="220" y="152"/>
                    <a:pt x="220" y="124"/>
                  </a:cubicBezTo>
                  <a:cubicBezTo>
                    <a:pt x="220" y="96"/>
                    <a:pt x="199" y="73"/>
                    <a:pt x="173" y="73"/>
                  </a:cubicBezTo>
                  <a:cubicBezTo>
                    <a:pt x="147" y="73"/>
                    <a:pt x="126" y="96"/>
                    <a:pt x="126" y="124"/>
                  </a:cubicBezTo>
                  <a:cubicBezTo>
                    <a:pt x="126" y="152"/>
                    <a:pt x="131" y="172"/>
                    <a:pt x="142" y="184"/>
                  </a:cubicBezTo>
                  <a:cubicBezTo>
                    <a:pt x="150" y="193"/>
                    <a:pt x="158" y="201"/>
                    <a:pt x="173" y="201"/>
                  </a:cubicBezTo>
                  <a:close/>
                  <a:moveTo>
                    <a:pt x="173" y="88"/>
                  </a:moveTo>
                  <a:cubicBezTo>
                    <a:pt x="190" y="88"/>
                    <a:pt x="205" y="104"/>
                    <a:pt x="205" y="124"/>
                  </a:cubicBezTo>
                  <a:cubicBezTo>
                    <a:pt x="205" y="148"/>
                    <a:pt x="201" y="165"/>
                    <a:pt x="193" y="174"/>
                  </a:cubicBezTo>
                  <a:cubicBezTo>
                    <a:pt x="184" y="184"/>
                    <a:pt x="180" y="187"/>
                    <a:pt x="173" y="187"/>
                  </a:cubicBezTo>
                  <a:cubicBezTo>
                    <a:pt x="166" y="187"/>
                    <a:pt x="161" y="184"/>
                    <a:pt x="153" y="174"/>
                  </a:cubicBezTo>
                  <a:cubicBezTo>
                    <a:pt x="145" y="165"/>
                    <a:pt x="141" y="148"/>
                    <a:pt x="141" y="124"/>
                  </a:cubicBezTo>
                  <a:cubicBezTo>
                    <a:pt x="141" y="104"/>
                    <a:pt x="155" y="88"/>
                    <a:pt x="173" y="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chemeClr val="accent1"/>
                </a:solidFill>
              </a:endParaRP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465058" y="597498"/>
              <a:ext cx="5214826" cy="3392978"/>
              <a:chOff x="465058" y="597498"/>
              <a:chExt cx="5214826" cy="3392978"/>
            </a:xfrm>
          </p:grpSpPr>
          <p:sp>
            <p:nvSpPr>
              <p:cNvPr id="35" name="TextBox 34"/>
              <p:cNvSpPr txBox="1"/>
              <p:nvPr/>
            </p:nvSpPr>
            <p:spPr>
              <a:xfrm>
                <a:off x="1504795" y="908920"/>
                <a:ext cx="70532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lv-LV" b="1" dirty="0">
                    <a:solidFill>
                      <a:schemeClr val="accent2"/>
                    </a:solidFill>
                  </a:rPr>
                  <a:t>DOMĀ</a:t>
                </a:r>
              </a:p>
            </p:txBody>
          </p:sp>
          <p:grpSp>
            <p:nvGrpSpPr>
              <p:cNvPr id="36" name="Group 35"/>
              <p:cNvGrpSpPr/>
              <p:nvPr/>
            </p:nvGrpSpPr>
            <p:grpSpPr>
              <a:xfrm>
                <a:off x="465058" y="597498"/>
                <a:ext cx="899847" cy="899842"/>
                <a:chOff x="4640248" y="3436938"/>
                <a:chExt cx="123825" cy="123825"/>
              </a:xfrm>
              <a:solidFill>
                <a:schemeClr val="accent2"/>
              </a:solidFill>
            </p:grpSpPr>
            <p:sp>
              <p:nvSpPr>
                <p:cNvPr id="42" name="Freeform 41"/>
                <p:cNvSpPr>
                  <a:spLocks noEditPoints="1"/>
                </p:cNvSpPr>
                <p:nvPr/>
              </p:nvSpPr>
              <p:spPr bwMode="auto">
                <a:xfrm>
                  <a:off x="4640248" y="3436938"/>
                  <a:ext cx="123825" cy="123825"/>
                </a:xfrm>
                <a:custGeom>
                  <a:avLst/>
                  <a:gdLst>
                    <a:gd name="T0" fmla="*/ 0 w 78"/>
                    <a:gd name="T1" fmla="*/ 0 h 78"/>
                    <a:gd name="T2" fmla="*/ 0 w 78"/>
                    <a:gd name="T3" fmla="*/ 78 h 78"/>
                    <a:gd name="T4" fmla="*/ 78 w 78"/>
                    <a:gd name="T5" fmla="*/ 78 h 78"/>
                    <a:gd name="T6" fmla="*/ 78 w 78"/>
                    <a:gd name="T7" fmla="*/ 0 h 78"/>
                    <a:gd name="T8" fmla="*/ 0 w 78"/>
                    <a:gd name="T9" fmla="*/ 0 h 78"/>
                    <a:gd name="T10" fmla="*/ 74 w 78"/>
                    <a:gd name="T11" fmla="*/ 74 h 78"/>
                    <a:gd name="T12" fmla="*/ 4 w 78"/>
                    <a:gd name="T13" fmla="*/ 74 h 78"/>
                    <a:gd name="T14" fmla="*/ 4 w 78"/>
                    <a:gd name="T15" fmla="*/ 3 h 78"/>
                    <a:gd name="T16" fmla="*/ 74 w 78"/>
                    <a:gd name="T17" fmla="*/ 3 h 78"/>
                    <a:gd name="T18" fmla="*/ 74 w 78"/>
                    <a:gd name="T19" fmla="*/ 74 h 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78" h="78">
                      <a:moveTo>
                        <a:pt x="0" y="0"/>
                      </a:moveTo>
                      <a:lnTo>
                        <a:pt x="0" y="78"/>
                      </a:lnTo>
                      <a:lnTo>
                        <a:pt x="78" y="78"/>
                      </a:lnTo>
                      <a:lnTo>
                        <a:pt x="78" y="0"/>
                      </a:lnTo>
                      <a:lnTo>
                        <a:pt x="0" y="0"/>
                      </a:lnTo>
                      <a:close/>
                      <a:moveTo>
                        <a:pt x="74" y="74"/>
                      </a:moveTo>
                      <a:lnTo>
                        <a:pt x="4" y="74"/>
                      </a:lnTo>
                      <a:lnTo>
                        <a:pt x="4" y="3"/>
                      </a:lnTo>
                      <a:lnTo>
                        <a:pt x="74" y="3"/>
                      </a:lnTo>
                      <a:lnTo>
                        <a:pt x="74" y="74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3" name="Freeform 42"/>
                <p:cNvSpPr>
                  <a:spLocks noEditPoints="1"/>
                </p:cNvSpPr>
                <p:nvPr/>
              </p:nvSpPr>
              <p:spPr bwMode="auto">
                <a:xfrm>
                  <a:off x="4710098" y="3460750"/>
                  <a:ext cx="17463" cy="74613"/>
                </a:xfrm>
                <a:custGeom>
                  <a:avLst/>
                  <a:gdLst>
                    <a:gd name="T0" fmla="*/ 43 w 86"/>
                    <a:gd name="T1" fmla="*/ 66 h 346"/>
                    <a:gd name="T2" fmla="*/ 67 w 86"/>
                    <a:gd name="T3" fmla="*/ 34 h 346"/>
                    <a:gd name="T4" fmla="*/ 34 w 86"/>
                    <a:gd name="T5" fmla="*/ 0 h 346"/>
                    <a:gd name="T6" fmla="*/ 0 w 86"/>
                    <a:gd name="T7" fmla="*/ 34 h 346"/>
                    <a:gd name="T8" fmla="*/ 18 w 86"/>
                    <a:gd name="T9" fmla="*/ 63 h 346"/>
                    <a:gd name="T10" fmla="*/ 18 w 86"/>
                    <a:gd name="T11" fmla="*/ 128 h 346"/>
                    <a:gd name="T12" fmla="*/ 61 w 86"/>
                    <a:gd name="T13" fmla="*/ 159 h 346"/>
                    <a:gd name="T14" fmla="*/ 61 w 86"/>
                    <a:gd name="T15" fmla="*/ 204 h 346"/>
                    <a:gd name="T16" fmla="*/ 17 w 86"/>
                    <a:gd name="T17" fmla="*/ 225 h 346"/>
                    <a:gd name="T18" fmla="*/ 17 w 86"/>
                    <a:gd name="T19" fmla="*/ 283 h 346"/>
                    <a:gd name="T20" fmla="*/ 0 w 86"/>
                    <a:gd name="T21" fmla="*/ 312 h 346"/>
                    <a:gd name="T22" fmla="*/ 33 w 86"/>
                    <a:gd name="T23" fmla="*/ 346 h 346"/>
                    <a:gd name="T24" fmla="*/ 67 w 86"/>
                    <a:gd name="T25" fmla="*/ 312 h 346"/>
                    <a:gd name="T26" fmla="*/ 42 w 86"/>
                    <a:gd name="T27" fmla="*/ 279 h 346"/>
                    <a:gd name="T28" fmla="*/ 42 w 86"/>
                    <a:gd name="T29" fmla="*/ 241 h 346"/>
                    <a:gd name="T30" fmla="*/ 86 w 86"/>
                    <a:gd name="T31" fmla="*/ 220 h 346"/>
                    <a:gd name="T32" fmla="*/ 86 w 86"/>
                    <a:gd name="T33" fmla="*/ 146 h 346"/>
                    <a:gd name="T34" fmla="*/ 43 w 86"/>
                    <a:gd name="T35" fmla="*/ 115 h 346"/>
                    <a:gd name="T36" fmla="*/ 43 w 86"/>
                    <a:gd name="T37" fmla="*/ 66 h 346"/>
                    <a:gd name="T38" fmla="*/ 33 w 86"/>
                    <a:gd name="T39" fmla="*/ 324 h 346"/>
                    <a:gd name="T40" fmla="*/ 22 w 86"/>
                    <a:gd name="T41" fmla="*/ 312 h 346"/>
                    <a:gd name="T42" fmla="*/ 33 w 86"/>
                    <a:gd name="T43" fmla="*/ 300 h 346"/>
                    <a:gd name="T44" fmla="*/ 45 w 86"/>
                    <a:gd name="T45" fmla="*/ 312 h 346"/>
                    <a:gd name="T46" fmla="*/ 33 w 86"/>
                    <a:gd name="T47" fmla="*/ 324 h 346"/>
                    <a:gd name="T48" fmla="*/ 34 w 86"/>
                    <a:gd name="T49" fmla="*/ 22 h 346"/>
                    <a:gd name="T50" fmla="*/ 45 w 86"/>
                    <a:gd name="T51" fmla="*/ 34 h 346"/>
                    <a:gd name="T52" fmla="*/ 34 w 86"/>
                    <a:gd name="T53" fmla="*/ 45 h 346"/>
                    <a:gd name="T54" fmla="*/ 22 w 86"/>
                    <a:gd name="T55" fmla="*/ 34 h 346"/>
                    <a:gd name="T56" fmla="*/ 34 w 86"/>
                    <a:gd name="T57" fmla="*/ 22 h 3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86" h="346">
                      <a:moveTo>
                        <a:pt x="43" y="66"/>
                      </a:moveTo>
                      <a:cubicBezTo>
                        <a:pt x="57" y="62"/>
                        <a:pt x="67" y="49"/>
                        <a:pt x="67" y="34"/>
                      </a:cubicBezTo>
                      <a:cubicBezTo>
                        <a:pt x="67" y="15"/>
                        <a:pt x="52" y="0"/>
                        <a:pt x="34" y="0"/>
                      </a:cubicBezTo>
                      <a:cubicBezTo>
                        <a:pt x="15" y="0"/>
                        <a:pt x="0" y="15"/>
                        <a:pt x="0" y="34"/>
                      </a:cubicBezTo>
                      <a:cubicBezTo>
                        <a:pt x="0" y="46"/>
                        <a:pt x="7" y="58"/>
                        <a:pt x="18" y="63"/>
                      </a:cubicBezTo>
                      <a:cubicBezTo>
                        <a:pt x="18" y="128"/>
                        <a:pt x="18" y="128"/>
                        <a:pt x="18" y="128"/>
                      </a:cubicBezTo>
                      <a:cubicBezTo>
                        <a:pt x="61" y="159"/>
                        <a:pt x="61" y="159"/>
                        <a:pt x="61" y="159"/>
                      </a:cubicBezTo>
                      <a:cubicBezTo>
                        <a:pt x="61" y="204"/>
                        <a:pt x="61" y="204"/>
                        <a:pt x="61" y="204"/>
                      </a:cubicBezTo>
                      <a:cubicBezTo>
                        <a:pt x="17" y="225"/>
                        <a:pt x="17" y="225"/>
                        <a:pt x="17" y="225"/>
                      </a:cubicBezTo>
                      <a:cubicBezTo>
                        <a:pt x="17" y="283"/>
                        <a:pt x="17" y="283"/>
                        <a:pt x="17" y="283"/>
                      </a:cubicBezTo>
                      <a:cubicBezTo>
                        <a:pt x="6" y="289"/>
                        <a:pt x="0" y="299"/>
                        <a:pt x="0" y="312"/>
                      </a:cubicBezTo>
                      <a:cubicBezTo>
                        <a:pt x="0" y="331"/>
                        <a:pt x="15" y="346"/>
                        <a:pt x="33" y="346"/>
                      </a:cubicBezTo>
                      <a:cubicBezTo>
                        <a:pt x="52" y="346"/>
                        <a:pt x="67" y="331"/>
                        <a:pt x="67" y="312"/>
                      </a:cubicBezTo>
                      <a:cubicBezTo>
                        <a:pt x="67" y="296"/>
                        <a:pt x="56" y="283"/>
                        <a:pt x="42" y="279"/>
                      </a:cubicBezTo>
                      <a:cubicBezTo>
                        <a:pt x="42" y="241"/>
                        <a:pt x="42" y="241"/>
                        <a:pt x="42" y="241"/>
                      </a:cubicBezTo>
                      <a:cubicBezTo>
                        <a:pt x="86" y="220"/>
                        <a:pt x="86" y="220"/>
                        <a:pt x="86" y="220"/>
                      </a:cubicBezTo>
                      <a:cubicBezTo>
                        <a:pt x="86" y="146"/>
                        <a:pt x="86" y="146"/>
                        <a:pt x="86" y="146"/>
                      </a:cubicBezTo>
                      <a:cubicBezTo>
                        <a:pt x="43" y="115"/>
                        <a:pt x="43" y="115"/>
                        <a:pt x="43" y="115"/>
                      </a:cubicBezTo>
                      <a:lnTo>
                        <a:pt x="43" y="66"/>
                      </a:lnTo>
                      <a:close/>
                      <a:moveTo>
                        <a:pt x="33" y="324"/>
                      </a:moveTo>
                      <a:cubicBezTo>
                        <a:pt x="27" y="324"/>
                        <a:pt x="22" y="318"/>
                        <a:pt x="22" y="312"/>
                      </a:cubicBezTo>
                      <a:cubicBezTo>
                        <a:pt x="22" y="306"/>
                        <a:pt x="27" y="300"/>
                        <a:pt x="33" y="300"/>
                      </a:cubicBezTo>
                      <a:cubicBezTo>
                        <a:pt x="40" y="300"/>
                        <a:pt x="45" y="306"/>
                        <a:pt x="45" y="312"/>
                      </a:cubicBezTo>
                      <a:cubicBezTo>
                        <a:pt x="45" y="318"/>
                        <a:pt x="40" y="324"/>
                        <a:pt x="33" y="324"/>
                      </a:cubicBezTo>
                      <a:close/>
                      <a:moveTo>
                        <a:pt x="34" y="22"/>
                      </a:moveTo>
                      <a:cubicBezTo>
                        <a:pt x="40" y="22"/>
                        <a:pt x="45" y="27"/>
                        <a:pt x="45" y="34"/>
                      </a:cubicBezTo>
                      <a:cubicBezTo>
                        <a:pt x="45" y="40"/>
                        <a:pt x="40" y="45"/>
                        <a:pt x="34" y="45"/>
                      </a:cubicBezTo>
                      <a:cubicBezTo>
                        <a:pt x="27" y="45"/>
                        <a:pt x="22" y="40"/>
                        <a:pt x="22" y="34"/>
                      </a:cubicBezTo>
                      <a:cubicBezTo>
                        <a:pt x="22" y="27"/>
                        <a:pt x="27" y="22"/>
                        <a:pt x="34" y="22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4" name="Freeform 43"/>
                <p:cNvSpPr>
                  <a:spLocks noEditPoints="1"/>
                </p:cNvSpPr>
                <p:nvPr/>
              </p:nvSpPr>
              <p:spPr bwMode="auto">
                <a:xfrm>
                  <a:off x="4652948" y="3448051"/>
                  <a:ext cx="100013" cy="101600"/>
                </a:xfrm>
                <a:custGeom>
                  <a:avLst/>
                  <a:gdLst>
                    <a:gd name="T0" fmla="*/ 410 w 470"/>
                    <a:gd name="T1" fmla="*/ 70 h 474"/>
                    <a:gd name="T2" fmla="*/ 235 w 470"/>
                    <a:gd name="T3" fmla="*/ 32 h 474"/>
                    <a:gd name="T4" fmla="*/ 59 w 470"/>
                    <a:gd name="T5" fmla="*/ 70 h 474"/>
                    <a:gd name="T6" fmla="*/ 0 w 470"/>
                    <a:gd name="T7" fmla="*/ 173 h 474"/>
                    <a:gd name="T8" fmla="*/ 61 w 470"/>
                    <a:gd name="T9" fmla="*/ 350 h 474"/>
                    <a:gd name="T10" fmla="*/ 181 w 470"/>
                    <a:gd name="T11" fmla="*/ 474 h 474"/>
                    <a:gd name="T12" fmla="*/ 289 w 470"/>
                    <a:gd name="T13" fmla="*/ 474 h 474"/>
                    <a:gd name="T14" fmla="*/ 409 w 470"/>
                    <a:gd name="T15" fmla="*/ 350 h 474"/>
                    <a:gd name="T16" fmla="*/ 470 w 470"/>
                    <a:gd name="T17" fmla="*/ 173 h 474"/>
                    <a:gd name="T18" fmla="*/ 86 w 470"/>
                    <a:gd name="T19" fmla="*/ 390 h 474"/>
                    <a:gd name="T20" fmla="*/ 101 w 470"/>
                    <a:gd name="T21" fmla="*/ 342 h 474"/>
                    <a:gd name="T22" fmla="*/ 127 w 470"/>
                    <a:gd name="T23" fmla="*/ 325 h 474"/>
                    <a:gd name="T24" fmla="*/ 91 w 470"/>
                    <a:gd name="T25" fmla="*/ 319 h 474"/>
                    <a:gd name="T26" fmla="*/ 25 w 470"/>
                    <a:gd name="T27" fmla="*/ 298 h 474"/>
                    <a:gd name="T28" fmla="*/ 37 w 470"/>
                    <a:gd name="T29" fmla="*/ 259 h 474"/>
                    <a:gd name="T30" fmla="*/ 102 w 470"/>
                    <a:gd name="T31" fmla="*/ 247 h 474"/>
                    <a:gd name="T32" fmla="*/ 37 w 470"/>
                    <a:gd name="T33" fmla="*/ 233 h 474"/>
                    <a:gd name="T34" fmla="*/ 25 w 470"/>
                    <a:gd name="T35" fmla="*/ 187 h 474"/>
                    <a:gd name="T36" fmla="*/ 91 w 470"/>
                    <a:gd name="T37" fmla="*/ 168 h 474"/>
                    <a:gd name="T38" fmla="*/ 127 w 470"/>
                    <a:gd name="T39" fmla="*/ 162 h 474"/>
                    <a:gd name="T40" fmla="*/ 102 w 470"/>
                    <a:gd name="T41" fmla="*/ 145 h 474"/>
                    <a:gd name="T42" fmla="*/ 85 w 470"/>
                    <a:gd name="T43" fmla="*/ 85 h 474"/>
                    <a:gd name="T44" fmla="*/ 221 w 470"/>
                    <a:gd name="T45" fmla="*/ 52 h 474"/>
                    <a:gd name="T46" fmla="*/ 208 w 470"/>
                    <a:gd name="T47" fmla="*/ 233 h 474"/>
                    <a:gd name="T48" fmla="*/ 175 w 470"/>
                    <a:gd name="T49" fmla="*/ 246 h 474"/>
                    <a:gd name="T50" fmla="*/ 208 w 470"/>
                    <a:gd name="T51" fmla="*/ 259 h 474"/>
                    <a:gd name="T52" fmla="*/ 221 w 470"/>
                    <a:gd name="T53" fmla="*/ 424 h 474"/>
                    <a:gd name="T54" fmla="*/ 86 w 470"/>
                    <a:gd name="T55" fmla="*/ 390 h 474"/>
                    <a:gd name="T56" fmla="*/ 68 w 470"/>
                    <a:gd name="T57" fmla="*/ 235 h 474"/>
                    <a:gd name="T58" fmla="*/ 68 w 470"/>
                    <a:gd name="T59" fmla="*/ 258 h 474"/>
                    <a:gd name="T60" fmla="*/ 397 w 470"/>
                    <a:gd name="T61" fmla="*/ 327 h 474"/>
                    <a:gd name="T62" fmla="*/ 361 w 470"/>
                    <a:gd name="T63" fmla="*/ 306 h 474"/>
                    <a:gd name="T64" fmla="*/ 361 w 470"/>
                    <a:gd name="T65" fmla="*/ 344 h 474"/>
                    <a:gd name="T66" fmla="*/ 383 w 470"/>
                    <a:gd name="T67" fmla="*/ 349 h 474"/>
                    <a:gd name="T68" fmla="*/ 288 w 470"/>
                    <a:gd name="T69" fmla="*/ 445 h 474"/>
                    <a:gd name="T70" fmla="*/ 246 w 470"/>
                    <a:gd name="T71" fmla="*/ 259 h 474"/>
                    <a:gd name="T72" fmla="*/ 276 w 470"/>
                    <a:gd name="T73" fmla="*/ 265 h 474"/>
                    <a:gd name="T74" fmla="*/ 276 w 470"/>
                    <a:gd name="T75" fmla="*/ 227 h 474"/>
                    <a:gd name="T76" fmla="*/ 246 w 470"/>
                    <a:gd name="T77" fmla="*/ 233 h 474"/>
                    <a:gd name="T78" fmla="*/ 286 w 470"/>
                    <a:gd name="T79" fmla="*/ 30 h 474"/>
                    <a:gd name="T80" fmla="*/ 385 w 470"/>
                    <a:gd name="T81" fmla="*/ 135 h 474"/>
                    <a:gd name="T82" fmla="*/ 361 w 470"/>
                    <a:gd name="T83" fmla="*/ 144 h 474"/>
                    <a:gd name="T84" fmla="*/ 361 w 470"/>
                    <a:gd name="T85" fmla="*/ 181 h 474"/>
                    <a:gd name="T86" fmla="*/ 397 w 470"/>
                    <a:gd name="T87" fmla="*/ 158 h 474"/>
                    <a:gd name="T88" fmla="*/ 444 w 470"/>
                    <a:gd name="T89" fmla="*/ 233 h 474"/>
                    <a:gd name="T90" fmla="*/ 404 w 470"/>
                    <a:gd name="T91" fmla="*/ 213 h 474"/>
                    <a:gd name="T92" fmla="*/ 404 w 470"/>
                    <a:gd name="T93" fmla="*/ 280 h 474"/>
                    <a:gd name="T94" fmla="*/ 444 w 470"/>
                    <a:gd name="T95" fmla="*/ 259 h 474"/>
                    <a:gd name="T96" fmla="*/ 397 w 470"/>
                    <a:gd name="T97" fmla="*/ 327 h 474"/>
                    <a:gd name="T98" fmla="*/ 404 w 470"/>
                    <a:gd name="T99" fmla="*/ 258 h 474"/>
                    <a:gd name="T100" fmla="*/ 404 w 470"/>
                    <a:gd name="T101" fmla="*/ 235 h 4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470" h="474">
                      <a:moveTo>
                        <a:pt x="410" y="136"/>
                      </a:moveTo>
                      <a:cubicBezTo>
                        <a:pt x="410" y="70"/>
                        <a:pt x="410" y="70"/>
                        <a:pt x="410" y="70"/>
                      </a:cubicBezTo>
                      <a:cubicBezTo>
                        <a:pt x="285" y="0"/>
                        <a:pt x="285" y="0"/>
                        <a:pt x="285" y="0"/>
                      </a:cubicBezTo>
                      <a:cubicBezTo>
                        <a:pt x="235" y="32"/>
                        <a:pt x="235" y="32"/>
                        <a:pt x="235" y="32"/>
                      </a:cubicBezTo>
                      <a:cubicBezTo>
                        <a:pt x="184" y="0"/>
                        <a:pt x="184" y="0"/>
                        <a:pt x="184" y="0"/>
                      </a:cubicBezTo>
                      <a:cubicBezTo>
                        <a:pt x="59" y="70"/>
                        <a:pt x="59" y="70"/>
                        <a:pt x="59" y="70"/>
                      </a:cubicBezTo>
                      <a:cubicBezTo>
                        <a:pt x="59" y="136"/>
                        <a:pt x="59" y="136"/>
                        <a:pt x="59" y="136"/>
                      </a:cubicBezTo>
                      <a:cubicBezTo>
                        <a:pt x="0" y="173"/>
                        <a:pt x="0" y="173"/>
                        <a:pt x="0" y="173"/>
                      </a:cubicBezTo>
                      <a:cubicBezTo>
                        <a:pt x="0" y="313"/>
                        <a:pt x="0" y="313"/>
                        <a:pt x="0" y="313"/>
                      </a:cubicBezTo>
                      <a:cubicBezTo>
                        <a:pt x="61" y="350"/>
                        <a:pt x="61" y="350"/>
                        <a:pt x="61" y="350"/>
                      </a:cubicBezTo>
                      <a:cubicBezTo>
                        <a:pt x="61" y="405"/>
                        <a:pt x="61" y="405"/>
                        <a:pt x="61" y="405"/>
                      </a:cubicBezTo>
                      <a:cubicBezTo>
                        <a:pt x="181" y="474"/>
                        <a:pt x="181" y="474"/>
                        <a:pt x="181" y="474"/>
                      </a:cubicBezTo>
                      <a:cubicBezTo>
                        <a:pt x="235" y="445"/>
                        <a:pt x="235" y="445"/>
                        <a:pt x="235" y="445"/>
                      </a:cubicBezTo>
                      <a:cubicBezTo>
                        <a:pt x="289" y="474"/>
                        <a:pt x="289" y="474"/>
                        <a:pt x="289" y="474"/>
                      </a:cubicBezTo>
                      <a:cubicBezTo>
                        <a:pt x="409" y="405"/>
                        <a:pt x="409" y="405"/>
                        <a:pt x="409" y="405"/>
                      </a:cubicBezTo>
                      <a:cubicBezTo>
                        <a:pt x="409" y="350"/>
                        <a:pt x="409" y="350"/>
                        <a:pt x="409" y="350"/>
                      </a:cubicBezTo>
                      <a:cubicBezTo>
                        <a:pt x="470" y="313"/>
                        <a:pt x="470" y="313"/>
                        <a:pt x="470" y="313"/>
                      </a:cubicBezTo>
                      <a:cubicBezTo>
                        <a:pt x="470" y="173"/>
                        <a:pt x="470" y="173"/>
                        <a:pt x="470" y="173"/>
                      </a:cubicBezTo>
                      <a:lnTo>
                        <a:pt x="410" y="136"/>
                      </a:lnTo>
                      <a:close/>
                      <a:moveTo>
                        <a:pt x="86" y="390"/>
                      </a:moveTo>
                      <a:cubicBezTo>
                        <a:pt x="86" y="349"/>
                        <a:pt x="86" y="349"/>
                        <a:pt x="86" y="349"/>
                      </a:cubicBezTo>
                      <a:cubicBezTo>
                        <a:pt x="101" y="342"/>
                        <a:pt x="101" y="342"/>
                        <a:pt x="101" y="342"/>
                      </a:cubicBezTo>
                      <a:cubicBezTo>
                        <a:pt x="103" y="343"/>
                        <a:pt x="106" y="344"/>
                        <a:pt x="108" y="344"/>
                      </a:cubicBezTo>
                      <a:cubicBezTo>
                        <a:pt x="119" y="344"/>
                        <a:pt x="127" y="335"/>
                        <a:pt x="127" y="325"/>
                      </a:cubicBezTo>
                      <a:cubicBezTo>
                        <a:pt x="127" y="315"/>
                        <a:pt x="119" y="306"/>
                        <a:pt x="108" y="306"/>
                      </a:cubicBezTo>
                      <a:cubicBezTo>
                        <a:pt x="100" y="306"/>
                        <a:pt x="93" y="312"/>
                        <a:pt x="91" y="319"/>
                      </a:cubicBezTo>
                      <a:cubicBezTo>
                        <a:pt x="72" y="327"/>
                        <a:pt x="72" y="327"/>
                        <a:pt x="72" y="327"/>
                      </a:cubicBezTo>
                      <a:cubicBezTo>
                        <a:pt x="25" y="298"/>
                        <a:pt x="25" y="298"/>
                        <a:pt x="25" y="298"/>
                      </a:cubicBezTo>
                      <a:cubicBezTo>
                        <a:pt x="25" y="259"/>
                        <a:pt x="25" y="259"/>
                        <a:pt x="25" y="259"/>
                      </a:cubicBezTo>
                      <a:cubicBezTo>
                        <a:pt x="37" y="259"/>
                        <a:pt x="37" y="259"/>
                        <a:pt x="37" y="259"/>
                      </a:cubicBezTo>
                      <a:cubicBezTo>
                        <a:pt x="42" y="271"/>
                        <a:pt x="54" y="280"/>
                        <a:pt x="68" y="280"/>
                      </a:cubicBezTo>
                      <a:cubicBezTo>
                        <a:pt x="87" y="280"/>
                        <a:pt x="102" y="265"/>
                        <a:pt x="102" y="247"/>
                      </a:cubicBezTo>
                      <a:cubicBezTo>
                        <a:pt x="102" y="228"/>
                        <a:pt x="87" y="213"/>
                        <a:pt x="68" y="213"/>
                      </a:cubicBezTo>
                      <a:cubicBezTo>
                        <a:pt x="54" y="213"/>
                        <a:pt x="42" y="221"/>
                        <a:pt x="37" y="233"/>
                      </a:cubicBezTo>
                      <a:cubicBezTo>
                        <a:pt x="25" y="233"/>
                        <a:pt x="25" y="233"/>
                        <a:pt x="25" y="233"/>
                      </a:cubicBezTo>
                      <a:cubicBezTo>
                        <a:pt x="25" y="187"/>
                        <a:pt x="25" y="187"/>
                        <a:pt x="25" y="187"/>
                      </a:cubicBezTo>
                      <a:cubicBezTo>
                        <a:pt x="72" y="158"/>
                        <a:pt x="72" y="158"/>
                        <a:pt x="72" y="158"/>
                      </a:cubicBezTo>
                      <a:cubicBezTo>
                        <a:pt x="91" y="168"/>
                        <a:pt x="91" y="168"/>
                        <a:pt x="91" y="168"/>
                      </a:cubicBezTo>
                      <a:cubicBezTo>
                        <a:pt x="93" y="175"/>
                        <a:pt x="100" y="181"/>
                        <a:pt x="108" y="181"/>
                      </a:cubicBezTo>
                      <a:cubicBezTo>
                        <a:pt x="119" y="181"/>
                        <a:pt x="127" y="173"/>
                        <a:pt x="127" y="162"/>
                      </a:cubicBezTo>
                      <a:cubicBezTo>
                        <a:pt x="127" y="152"/>
                        <a:pt x="119" y="144"/>
                        <a:pt x="108" y="144"/>
                      </a:cubicBezTo>
                      <a:cubicBezTo>
                        <a:pt x="106" y="144"/>
                        <a:pt x="104" y="144"/>
                        <a:pt x="102" y="145"/>
                      </a:cubicBezTo>
                      <a:cubicBezTo>
                        <a:pt x="85" y="135"/>
                        <a:pt x="85" y="135"/>
                        <a:pt x="85" y="135"/>
                      </a:cubicBezTo>
                      <a:cubicBezTo>
                        <a:pt x="85" y="85"/>
                        <a:pt x="85" y="85"/>
                        <a:pt x="85" y="85"/>
                      </a:cubicBezTo>
                      <a:cubicBezTo>
                        <a:pt x="183" y="30"/>
                        <a:pt x="183" y="30"/>
                        <a:pt x="183" y="30"/>
                      </a:cubicBezTo>
                      <a:cubicBezTo>
                        <a:pt x="221" y="52"/>
                        <a:pt x="221" y="52"/>
                        <a:pt x="221" y="52"/>
                      </a:cubicBezTo>
                      <a:cubicBezTo>
                        <a:pt x="221" y="233"/>
                        <a:pt x="221" y="233"/>
                        <a:pt x="221" y="233"/>
                      </a:cubicBezTo>
                      <a:cubicBezTo>
                        <a:pt x="208" y="233"/>
                        <a:pt x="208" y="233"/>
                        <a:pt x="208" y="233"/>
                      </a:cubicBezTo>
                      <a:cubicBezTo>
                        <a:pt x="205" y="230"/>
                        <a:pt x="200" y="227"/>
                        <a:pt x="194" y="227"/>
                      </a:cubicBezTo>
                      <a:cubicBezTo>
                        <a:pt x="184" y="227"/>
                        <a:pt x="175" y="235"/>
                        <a:pt x="175" y="246"/>
                      </a:cubicBezTo>
                      <a:cubicBezTo>
                        <a:pt x="175" y="256"/>
                        <a:pt x="184" y="265"/>
                        <a:pt x="194" y="265"/>
                      </a:cubicBezTo>
                      <a:cubicBezTo>
                        <a:pt x="199" y="265"/>
                        <a:pt x="204" y="262"/>
                        <a:pt x="208" y="259"/>
                      </a:cubicBezTo>
                      <a:cubicBezTo>
                        <a:pt x="221" y="259"/>
                        <a:pt x="221" y="259"/>
                        <a:pt x="221" y="259"/>
                      </a:cubicBezTo>
                      <a:cubicBezTo>
                        <a:pt x="221" y="424"/>
                        <a:pt x="221" y="424"/>
                        <a:pt x="221" y="424"/>
                      </a:cubicBezTo>
                      <a:cubicBezTo>
                        <a:pt x="181" y="445"/>
                        <a:pt x="181" y="445"/>
                        <a:pt x="181" y="445"/>
                      </a:cubicBezTo>
                      <a:lnTo>
                        <a:pt x="86" y="390"/>
                      </a:lnTo>
                      <a:close/>
                      <a:moveTo>
                        <a:pt x="57" y="247"/>
                      </a:moveTo>
                      <a:cubicBezTo>
                        <a:pt x="57" y="240"/>
                        <a:pt x="62" y="235"/>
                        <a:pt x="68" y="235"/>
                      </a:cubicBezTo>
                      <a:cubicBezTo>
                        <a:pt x="75" y="235"/>
                        <a:pt x="80" y="240"/>
                        <a:pt x="80" y="247"/>
                      </a:cubicBezTo>
                      <a:cubicBezTo>
                        <a:pt x="80" y="253"/>
                        <a:pt x="75" y="258"/>
                        <a:pt x="68" y="258"/>
                      </a:cubicBezTo>
                      <a:cubicBezTo>
                        <a:pt x="62" y="258"/>
                        <a:pt x="57" y="253"/>
                        <a:pt x="57" y="247"/>
                      </a:cubicBezTo>
                      <a:close/>
                      <a:moveTo>
                        <a:pt x="397" y="327"/>
                      </a:moveTo>
                      <a:cubicBezTo>
                        <a:pt x="379" y="319"/>
                        <a:pt x="379" y="319"/>
                        <a:pt x="379" y="319"/>
                      </a:cubicBezTo>
                      <a:cubicBezTo>
                        <a:pt x="376" y="312"/>
                        <a:pt x="369" y="306"/>
                        <a:pt x="361" y="306"/>
                      </a:cubicBezTo>
                      <a:cubicBezTo>
                        <a:pt x="351" y="306"/>
                        <a:pt x="342" y="315"/>
                        <a:pt x="342" y="325"/>
                      </a:cubicBezTo>
                      <a:cubicBezTo>
                        <a:pt x="342" y="335"/>
                        <a:pt x="351" y="344"/>
                        <a:pt x="361" y="344"/>
                      </a:cubicBezTo>
                      <a:cubicBezTo>
                        <a:pt x="364" y="344"/>
                        <a:pt x="366" y="343"/>
                        <a:pt x="368" y="342"/>
                      </a:cubicBezTo>
                      <a:cubicBezTo>
                        <a:pt x="383" y="349"/>
                        <a:pt x="383" y="349"/>
                        <a:pt x="383" y="349"/>
                      </a:cubicBezTo>
                      <a:cubicBezTo>
                        <a:pt x="383" y="390"/>
                        <a:pt x="383" y="390"/>
                        <a:pt x="383" y="390"/>
                      </a:cubicBezTo>
                      <a:cubicBezTo>
                        <a:pt x="288" y="445"/>
                        <a:pt x="288" y="445"/>
                        <a:pt x="288" y="445"/>
                      </a:cubicBezTo>
                      <a:cubicBezTo>
                        <a:pt x="246" y="422"/>
                        <a:pt x="246" y="422"/>
                        <a:pt x="246" y="422"/>
                      </a:cubicBezTo>
                      <a:cubicBezTo>
                        <a:pt x="246" y="259"/>
                        <a:pt x="246" y="259"/>
                        <a:pt x="246" y="259"/>
                      </a:cubicBezTo>
                      <a:cubicBezTo>
                        <a:pt x="263" y="259"/>
                        <a:pt x="263" y="259"/>
                        <a:pt x="263" y="259"/>
                      </a:cubicBezTo>
                      <a:cubicBezTo>
                        <a:pt x="266" y="262"/>
                        <a:pt x="271" y="265"/>
                        <a:pt x="276" y="265"/>
                      </a:cubicBezTo>
                      <a:cubicBezTo>
                        <a:pt x="287" y="265"/>
                        <a:pt x="295" y="256"/>
                        <a:pt x="295" y="246"/>
                      </a:cubicBezTo>
                      <a:cubicBezTo>
                        <a:pt x="295" y="235"/>
                        <a:pt x="287" y="227"/>
                        <a:pt x="276" y="227"/>
                      </a:cubicBezTo>
                      <a:cubicBezTo>
                        <a:pt x="271" y="227"/>
                        <a:pt x="266" y="230"/>
                        <a:pt x="262" y="233"/>
                      </a:cubicBezTo>
                      <a:cubicBezTo>
                        <a:pt x="246" y="233"/>
                        <a:pt x="246" y="233"/>
                        <a:pt x="246" y="233"/>
                      </a:cubicBezTo>
                      <a:cubicBezTo>
                        <a:pt x="246" y="54"/>
                        <a:pt x="246" y="54"/>
                        <a:pt x="246" y="54"/>
                      </a:cubicBezTo>
                      <a:cubicBezTo>
                        <a:pt x="286" y="30"/>
                        <a:pt x="286" y="30"/>
                        <a:pt x="286" y="30"/>
                      </a:cubicBezTo>
                      <a:cubicBezTo>
                        <a:pt x="385" y="85"/>
                        <a:pt x="385" y="85"/>
                        <a:pt x="385" y="85"/>
                      </a:cubicBezTo>
                      <a:cubicBezTo>
                        <a:pt x="385" y="135"/>
                        <a:pt x="385" y="135"/>
                        <a:pt x="385" y="135"/>
                      </a:cubicBezTo>
                      <a:cubicBezTo>
                        <a:pt x="368" y="145"/>
                        <a:pt x="368" y="145"/>
                        <a:pt x="368" y="145"/>
                      </a:cubicBezTo>
                      <a:cubicBezTo>
                        <a:pt x="366" y="144"/>
                        <a:pt x="364" y="144"/>
                        <a:pt x="361" y="144"/>
                      </a:cubicBezTo>
                      <a:cubicBezTo>
                        <a:pt x="351" y="144"/>
                        <a:pt x="342" y="152"/>
                        <a:pt x="342" y="162"/>
                      </a:cubicBezTo>
                      <a:cubicBezTo>
                        <a:pt x="342" y="173"/>
                        <a:pt x="351" y="181"/>
                        <a:pt x="361" y="181"/>
                      </a:cubicBezTo>
                      <a:cubicBezTo>
                        <a:pt x="370" y="181"/>
                        <a:pt x="377" y="175"/>
                        <a:pt x="379" y="168"/>
                      </a:cubicBezTo>
                      <a:cubicBezTo>
                        <a:pt x="397" y="158"/>
                        <a:pt x="397" y="158"/>
                        <a:pt x="397" y="158"/>
                      </a:cubicBezTo>
                      <a:cubicBezTo>
                        <a:pt x="444" y="187"/>
                        <a:pt x="444" y="187"/>
                        <a:pt x="444" y="187"/>
                      </a:cubicBezTo>
                      <a:cubicBezTo>
                        <a:pt x="444" y="233"/>
                        <a:pt x="444" y="233"/>
                        <a:pt x="444" y="233"/>
                      </a:cubicBezTo>
                      <a:cubicBezTo>
                        <a:pt x="435" y="233"/>
                        <a:pt x="435" y="233"/>
                        <a:pt x="435" y="233"/>
                      </a:cubicBezTo>
                      <a:cubicBezTo>
                        <a:pt x="430" y="221"/>
                        <a:pt x="418" y="213"/>
                        <a:pt x="404" y="213"/>
                      </a:cubicBezTo>
                      <a:cubicBezTo>
                        <a:pt x="385" y="213"/>
                        <a:pt x="370" y="228"/>
                        <a:pt x="370" y="247"/>
                      </a:cubicBezTo>
                      <a:cubicBezTo>
                        <a:pt x="370" y="265"/>
                        <a:pt x="385" y="280"/>
                        <a:pt x="404" y="280"/>
                      </a:cubicBezTo>
                      <a:cubicBezTo>
                        <a:pt x="418" y="280"/>
                        <a:pt x="431" y="271"/>
                        <a:pt x="435" y="259"/>
                      </a:cubicBezTo>
                      <a:cubicBezTo>
                        <a:pt x="444" y="259"/>
                        <a:pt x="444" y="259"/>
                        <a:pt x="444" y="259"/>
                      </a:cubicBezTo>
                      <a:cubicBezTo>
                        <a:pt x="444" y="298"/>
                        <a:pt x="444" y="298"/>
                        <a:pt x="444" y="298"/>
                      </a:cubicBezTo>
                      <a:lnTo>
                        <a:pt x="397" y="327"/>
                      </a:lnTo>
                      <a:close/>
                      <a:moveTo>
                        <a:pt x="416" y="247"/>
                      </a:moveTo>
                      <a:cubicBezTo>
                        <a:pt x="416" y="253"/>
                        <a:pt x="410" y="258"/>
                        <a:pt x="404" y="258"/>
                      </a:cubicBezTo>
                      <a:cubicBezTo>
                        <a:pt x="398" y="258"/>
                        <a:pt x="392" y="253"/>
                        <a:pt x="392" y="247"/>
                      </a:cubicBezTo>
                      <a:cubicBezTo>
                        <a:pt x="392" y="240"/>
                        <a:pt x="398" y="235"/>
                        <a:pt x="404" y="235"/>
                      </a:cubicBezTo>
                      <a:cubicBezTo>
                        <a:pt x="410" y="235"/>
                        <a:pt x="416" y="240"/>
                        <a:pt x="416" y="247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45" name="Freeform 44"/>
                <p:cNvSpPr>
                  <a:spLocks noEditPoints="1"/>
                </p:cNvSpPr>
                <p:nvPr/>
              </p:nvSpPr>
              <p:spPr bwMode="auto">
                <a:xfrm>
                  <a:off x="4676775" y="3460750"/>
                  <a:ext cx="19050" cy="74613"/>
                </a:xfrm>
                <a:custGeom>
                  <a:avLst/>
                  <a:gdLst>
                    <a:gd name="T0" fmla="*/ 70 w 88"/>
                    <a:gd name="T1" fmla="*/ 284 h 348"/>
                    <a:gd name="T2" fmla="*/ 70 w 88"/>
                    <a:gd name="T3" fmla="*/ 226 h 348"/>
                    <a:gd name="T4" fmla="*/ 25 w 88"/>
                    <a:gd name="T5" fmla="*/ 205 h 348"/>
                    <a:gd name="T6" fmla="*/ 25 w 88"/>
                    <a:gd name="T7" fmla="*/ 160 h 348"/>
                    <a:gd name="T8" fmla="*/ 69 w 88"/>
                    <a:gd name="T9" fmla="*/ 129 h 348"/>
                    <a:gd name="T10" fmla="*/ 69 w 88"/>
                    <a:gd name="T11" fmla="*/ 64 h 348"/>
                    <a:gd name="T12" fmla="*/ 87 w 88"/>
                    <a:gd name="T13" fmla="*/ 34 h 348"/>
                    <a:gd name="T14" fmla="*/ 54 w 88"/>
                    <a:gd name="T15" fmla="*/ 0 h 348"/>
                    <a:gd name="T16" fmla="*/ 20 w 88"/>
                    <a:gd name="T17" fmla="*/ 34 h 348"/>
                    <a:gd name="T18" fmla="*/ 44 w 88"/>
                    <a:gd name="T19" fmla="*/ 66 h 348"/>
                    <a:gd name="T20" fmla="*/ 43 w 88"/>
                    <a:gd name="T21" fmla="*/ 67 h 348"/>
                    <a:gd name="T22" fmla="*/ 43 w 88"/>
                    <a:gd name="T23" fmla="*/ 116 h 348"/>
                    <a:gd name="T24" fmla="*/ 0 w 88"/>
                    <a:gd name="T25" fmla="*/ 147 h 348"/>
                    <a:gd name="T26" fmla="*/ 0 w 88"/>
                    <a:gd name="T27" fmla="*/ 221 h 348"/>
                    <a:gd name="T28" fmla="*/ 45 w 88"/>
                    <a:gd name="T29" fmla="*/ 242 h 348"/>
                    <a:gd name="T30" fmla="*/ 45 w 88"/>
                    <a:gd name="T31" fmla="*/ 282 h 348"/>
                    <a:gd name="T32" fmla="*/ 20 w 88"/>
                    <a:gd name="T33" fmla="*/ 314 h 348"/>
                    <a:gd name="T34" fmla="*/ 54 w 88"/>
                    <a:gd name="T35" fmla="*/ 348 h 348"/>
                    <a:gd name="T36" fmla="*/ 88 w 88"/>
                    <a:gd name="T37" fmla="*/ 314 h 348"/>
                    <a:gd name="T38" fmla="*/ 70 w 88"/>
                    <a:gd name="T39" fmla="*/ 284 h 348"/>
                    <a:gd name="T40" fmla="*/ 54 w 88"/>
                    <a:gd name="T41" fmla="*/ 22 h 348"/>
                    <a:gd name="T42" fmla="*/ 65 w 88"/>
                    <a:gd name="T43" fmla="*/ 34 h 348"/>
                    <a:gd name="T44" fmla="*/ 54 w 88"/>
                    <a:gd name="T45" fmla="*/ 46 h 348"/>
                    <a:gd name="T46" fmla="*/ 42 w 88"/>
                    <a:gd name="T47" fmla="*/ 34 h 348"/>
                    <a:gd name="T48" fmla="*/ 54 w 88"/>
                    <a:gd name="T49" fmla="*/ 22 h 348"/>
                    <a:gd name="T50" fmla="*/ 54 w 88"/>
                    <a:gd name="T51" fmla="*/ 326 h 348"/>
                    <a:gd name="T52" fmla="*/ 42 w 88"/>
                    <a:gd name="T53" fmla="*/ 314 h 348"/>
                    <a:gd name="T54" fmla="*/ 54 w 88"/>
                    <a:gd name="T55" fmla="*/ 302 h 348"/>
                    <a:gd name="T56" fmla="*/ 66 w 88"/>
                    <a:gd name="T57" fmla="*/ 314 h 348"/>
                    <a:gd name="T58" fmla="*/ 54 w 88"/>
                    <a:gd name="T59" fmla="*/ 326 h 3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</a:cxnLst>
                  <a:rect l="0" t="0" r="r" b="b"/>
                  <a:pathLst>
                    <a:path w="88" h="348">
                      <a:moveTo>
                        <a:pt x="70" y="284"/>
                      </a:moveTo>
                      <a:cubicBezTo>
                        <a:pt x="70" y="226"/>
                        <a:pt x="70" y="226"/>
                        <a:pt x="70" y="226"/>
                      </a:cubicBezTo>
                      <a:cubicBezTo>
                        <a:pt x="25" y="205"/>
                        <a:pt x="25" y="205"/>
                        <a:pt x="25" y="205"/>
                      </a:cubicBezTo>
                      <a:cubicBezTo>
                        <a:pt x="25" y="160"/>
                        <a:pt x="25" y="160"/>
                        <a:pt x="25" y="160"/>
                      </a:cubicBezTo>
                      <a:cubicBezTo>
                        <a:pt x="69" y="129"/>
                        <a:pt x="69" y="129"/>
                        <a:pt x="69" y="129"/>
                      </a:cubicBezTo>
                      <a:cubicBezTo>
                        <a:pt x="69" y="64"/>
                        <a:pt x="69" y="64"/>
                        <a:pt x="69" y="64"/>
                      </a:cubicBezTo>
                      <a:cubicBezTo>
                        <a:pt x="80" y="59"/>
                        <a:pt x="87" y="47"/>
                        <a:pt x="87" y="34"/>
                      </a:cubicBezTo>
                      <a:cubicBezTo>
                        <a:pt x="87" y="15"/>
                        <a:pt x="72" y="0"/>
                        <a:pt x="54" y="0"/>
                      </a:cubicBezTo>
                      <a:cubicBezTo>
                        <a:pt x="35" y="0"/>
                        <a:pt x="20" y="15"/>
                        <a:pt x="20" y="34"/>
                      </a:cubicBezTo>
                      <a:cubicBezTo>
                        <a:pt x="20" y="49"/>
                        <a:pt x="30" y="62"/>
                        <a:pt x="44" y="66"/>
                      </a:cubicBezTo>
                      <a:cubicBezTo>
                        <a:pt x="43" y="67"/>
                        <a:pt x="43" y="67"/>
                        <a:pt x="43" y="67"/>
                      </a:cubicBezTo>
                      <a:cubicBezTo>
                        <a:pt x="43" y="116"/>
                        <a:pt x="43" y="116"/>
                        <a:pt x="43" y="116"/>
                      </a:cubicBezTo>
                      <a:cubicBezTo>
                        <a:pt x="0" y="147"/>
                        <a:pt x="0" y="147"/>
                        <a:pt x="0" y="147"/>
                      </a:cubicBezTo>
                      <a:cubicBezTo>
                        <a:pt x="0" y="221"/>
                        <a:pt x="0" y="221"/>
                        <a:pt x="0" y="221"/>
                      </a:cubicBezTo>
                      <a:cubicBezTo>
                        <a:pt x="45" y="242"/>
                        <a:pt x="45" y="242"/>
                        <a:pt x="45" y="242"/>
                      </a:cubicBezTo>
                      <a:cubicBezTo>
                        <a:pt x="45" y="282"/>
                        <a:pt x="45" y="282"/>
                        <a:pt x="45" y="282"/>
                      </a:cubicBezTo>
                      <a:cubicBezTo>
                        <a:pt x="31" y="286"/>
                        <a:pt x="20" y="299"/>
                        <a:pt x="20" y="314"/>
                      </a:cubicBezTo>
                      <a:cubicBezTo>
                        <a:pt x="20" y="333"/>
                        <a:pt x="35" y="348"/>
                        <a:pt x="54" y="348"/>
                      </a:cubicBezTo>
                      <a:cubicBezTo>
                        <a:pt x="73" y="348"/>
                        <a:pt x="88" y="333"/>
                        <a:pt x="88" y="314"/>
                      </a:cubicBezTo>
                      <a:cubicBezTo>
                        <a:pt x="88" y="301"/>
                        <a:pt x="81" y="290"/>
                        <a:pt x="70" y="284"/>
                      </a:cubicBezTo>
                      <a:close/>
                      <a:moveTo>
                        <a:pt x="54" y="22"/>
                      </a:moveTo>
                      <a:cubicBezTo>
                        <a:pt x="60" y="22"/>
                        <a:pt x="65" y="28"/>
                        <a:pt x="65" y="34"/>
                      </a:cubicBezTo>
                      <a:cubicBezTo>
                        <a:pt x="65" y="40"/>
                        <a:pt x="60" y="46"/>
                        <a:pt x="54" y="46"/>
                      </a:cubicBezTo>
                      <a:cubicBezTo>
                        <a:pt x="47" y="46"/>
                        <a:pt x="42" y="40"/>
                        <a:pt x="42" y="34"/>
                      </a:cubicBezTo>
                      <a:cubicBezTo>
                        <a:pt x="42" y="28"/>
                        <a:pt x="47" y="22"/>
                        <a:pt x="54" y="22"/>
                      </a:cubicBezTo>
                      <a:close/>
                      <a:moveTo>
                        <a:pt x="54" y="326"/>
                      </a:moveTo>
                      <a:cubicBezTo>
                        <a:pt x="48" y="326"/>
                        <a:pt x="42" y="320"/>
                        <a:pt x="42" y="314"/>
                      </a:cubicBezTo>
                      <a:cubicBezTo>
                        <a:pt x="42" y="308"/>
                        <a:pt x="48" y="302"/>
                        <a:pt x="54" y="302"/>
                      </a:cubicBezTo>
                      <a:cubicBezTo>
                        <a:pt x="60" y="302"/>
                        <a:pt x="66" y="308"/>
                        <a:pt x="66" y="314"/>
                      </a:cubicBezTo>
                      <a:cubicBezTo>
                        <a:pt x="66" y="320"/>
                        <a:pt x="60" y="326"/>
                        <a:pt x="54" y="32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  <p:cxnSp>
            <p:nvCxnSpPr>
              <p:cNvPr id="37" name="Straight Connector 36"/>
              <p:cNvCxnSpPr>
                <a:endCxn id="40" idx="1"/>
              </p:cNvCxnSpPr>
              <p:nvPr/>
            </p:nvCxnSpPr>
            <p:spPr>
              <a:xfrm>
                <a:off x="465138" y="3448050"/>
                <a:ext cx="4985742" cy="0"/>
              </a:xfrm>
              <a:prstGeom prst="line">
                <a:avLst/>
              </a:prstGeom>
              <a:ln w="12700" cap="sq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cxnSp>
            <p:nvCxnSpPr>
              <p:cNvPr id="38" name="Straight Connector 37"/>
              <p:cNvCxnSpPr/>
              <p:nvPr/>
            </p:nvCxnSpPr>
            <p:spPr>
              <a:xfrm>
                <a:off x="714216" y="597498"/>
                <a:ext cx="3820189" cy="0"/>
              </a:xfrm>
              <a:prstGeom prst="line">
                <a:avLst/>
              </a:prstGeom>
              <a:ln w="12700" cap="sq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cxnSp>
            <p:nvCxnSpPr>
              <p:cNvPr id="39" name="Straight Connector 38"/>
              <p:cNvCxnSpPr>
                <a:stCxn id="3" idx="0"/>
              </p:cNvCxnSpPr>
              <p:nvPr/>
            </p:nvCxnSpPr>
            <p:spPr>
              <a:xfrm flipH="1" flipV="1">
                <a:off x="4543425" y="600075"/>
                <a:ext cx="1136459" cy="3390401"/>
              </a:xfrm>
              <a:prstGeom prst="line">
                <a:avLst/>
              </a:prstGeom>
              <a:ln w="12700" cap="sq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sp>
            <p:nvSpPr>
              <p:cNvPr id="40" name="Rectangle 39"/>
              <p:cNvSpPr/>
              <p:nvPr/>
            </p:nvSpPr>
            <p:spPr>
              <a:xfrm>
                <a:off x="5450880" y="3397809"/>
                <a:ext cx="100482" cy="100482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GB" sz="1600"/>
              </a:p>
            </p:txBody>
          </p:sp>
          <p:cxnSp>
            <p:nvCxnSpPr>
              <p:cNvPr id="41" name="Straight Connector 40"/>
              <p:cNvCxnSpPr>
                <a:stCxn id="42" idx="0"/>
              </p:cNvCxnSpPr>
              <p:nvPr/>
            </p:nvCxnSpPr>
            <p:spPr>
              <a:xfrm>
                <a:off x="465058" y="597498"/>
                <a:ext cx="0" cy="2850552"/>
              </a:xfrm>
              <a:prstGeom prst="line">
                <a:avLst/>
              </a:prstGeom>
              <a:ln w="12700" cap="sq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</p:grpSp>
        <p:grpSp>
          <p:nvGrpSpPr>
            <p:cNvPr id="5" name="Group 4"/>
            <p:cNvGrpSpPr/>
            <p:nvPr/>
          </p:nvGrpSpPr>
          <p:grpSpPr>
            <a:xfrm>
              <a:off x="7121717" y="592676"/>
              <a:ext cx="5227770" cy="3397800"/>
              <a:chOff x="7121717" y="592676"/>
              <a:chExt cx="5227770" cy="3397800"/>
            </a:xfrm>
          </p:grpSpPr>
          <p:grpSp>
            <p:nvGrpSpPr>
              <p:cNvPr id="26" name="Group 16"/>
              <p:cNvGrpSpPr>
                <a:grpSpLocks noChangeAspect="1"/>
              </p:cNvGrpSpPr>
              <p:nvPr/>
            </p:nvGrpSpPr>
            <p:grpSpPr bwMode="auto">
              <a:xfrm>
                <a:off x="11449644" y="592676"/>
                <a:ext cx="899843" cy="899706"/>
                <a:chOff x="986" y="0"/>
                <a:chExt cx="6696" cy="6695"/>
              </a:xfrm>
              <a:solidFill>
                <a:schemeClr val="accent5"/>
              </a:solidFill>
            </p:grpSpPr>
            <p:sp>
              <p:nvSpPr>
                <p:cNvPr id="33" name="Freeform 17"/>
                <p:cNvSpPr>
                  <a:spLocks noEditPoints="1"/>
                </p:cNvSpPr>
                <p:nvPr/>
              </p:nvSpPr>
              <p:spPr bwMode="auto">
                <a:xfrm>
                  <a:off x="986" y="0"/>
                  <a:ext cx="6696" cy="6695"/>
                </a:xfrm>
                <a:custGeom>
                  <a:avLst/>
                  <a:gdLst>
                    <a:gd name="T0" fmla="*/ 6412 w 6696"/>
                    <a:gd name="T1" fmla="*/ 286 h 6695"/>
                    <a:gd name="T2" fmla="*/ 6098 w 6696"/>
                    <a:gd name="T3" fmla="*/ 2802 h 6695"/>
                    <a:gd name="T4" fmla="*/ 5586 w 6696"/>
                    <a:gd name="T5" fmla="*/ 2326 h 6695"/>
                    <a:gd name="T6" fmla="*/ 5234 w 6696"/>
                    <a:gd name="T7" fmla="*/ 2058 h 6695"/>
                    <a:gd name="T8" fmla="*/ 4811 w 6696"/>
                    <a:gd name="T9" fmla="*/ 1792 h 6695"/>
                    <a:gd name="T10" fmla="*/ 4387 w 6696"/>
                    <a:gd name="T11" fmla="*/ 1592 h 6695"/>
                    <a:gd name="T12" fmla="*/ 3965 w 6696"/>
                    <a:gd name="T13" fmla="*/ 1456 h 6695"/>
                    <a:gd name="T14" fmla="*/ 3551 w 6696"/>
                    <a:gd name="T15" fmla="*/ 1388 h 6695"/>
                    <a:gd name="T16" fmla="*/ 3213 w 6696"/>
                    <a:gd name="T17" fmla="*/ 1384 h 6695"/>
                    <a:gd name="T18" fmla="*/ 2801 w 6696"/>
                    <a:gd name="T19" fmla="*/ 1440 h 6695"/>
                    <a:gd name="T20" fmla="*/ 2381 w 6696"/>
                    <a:gd name="T21" fmla="*/ 1564 h 6695"/>
                    <a:gd name="T22" fmla="*/ 1957 w 6696"/>
                    <a:gd name="T23" fmla="*/ 1754 h 6695"/>
                    <a:gd name="T24" fmla="*/ 1532 w 6696"/>
                    <a:gd name="T25" fmla="*/ 2008 h 6695"/>
                    <a:gd name="T26" fmla="*/ 1110 w 6696"/>
                    <a:gd name="T27" fmla="*/ 2326 h 6695"/>
                    <a:gd name="T28" fmla="*/ 708 w 6696"/>
                    <a:gd name="T29" fmla="*/ 2690 h 6695"/>
                    <a:gd name="T30" fmla="*/ 286 w 6696"/>
                    <a:gd name="T31" fmla="*/ 286 h 6695"/>
                    <a:gd name="T32" fmla="*/ 5948 w 6696"/>
                    <a:gd name="T33" fmla="*/ 3633 h 6695"/>
                    <a:gd name="T34" fmla="*/ 5534 w 6696"/>
                    <a:gd name="T35" fmla="*/ 4035 h 6695"/>
                    <a:gd name="T36" fmla="*/ 4987 w 6696"/>
                    <a:gd name="T37" fmla="*/ 4459 h 6695"/>
                    <a:gd name="T38" fmla="*/ 4393 w 6696"/>
                    <a:gd name="T39" fmla="*/ 4791 h 6695"/>
                    <a:gd name="T40" fmla="*/ 4039 w 6696"/>
                    <a:gd name="T41" fmla="*/ 4923 h 6695"/>
                    <a:gd name="T42" fmla="*/ 3667 w 6696"/>
                    <a:gd name="T43" fmla="*/ 5005 h 6695"/>
                    <a:gd name="T44" fmla="*/ 3349 w 6696"/>
                    <a:gd name="T45" fmla="*/ 5029 h 6695"/>
                    <a:gd name="T46" fmla="*/ 2965 w 6696"/>
                    <a:gd name="T47" fmla="*/ 4995 h 6695"/>
                    <a:gd name="T48" fmla="*/ 2597 w 6696"/>
                    <a:gd name="T49" fmla="*/ 4905 h 6695"/>
                    <a:gd name="T50" fmla="*/ 2247 w 6696"/>
                    <a:gd name="T51" fmla="*/ 4765 h 6695"/>
                    <a:gd name="T52" fmla="*/ 1608 w 6696"/>
                    <a:gd name="T53" fmla="*/ 4391 h 6695"/>
                    <a:gd name="T54" fmla="*/ 1082 w 6696"/>
                    <a:gd name="T55" fmla="*/ 3963 h 6695"/>
                    <a:gd name="T56" fmla="*/ 644 w 6696"/>
                    <a:gd name="T57" fmla="*/ 3521 h 6695"/>
                    <a:gd name="T58" fmla="*/ 748 w 6696"/>
                    <a:gd name="T59" fmla="*/ 3062 h 6695"/>
                    <a:gd name="T60" fmla="*/ 1160 w 6696"/>
                    <a:gd name="T61" fmla="*/ 2660 h 6695"/>
                    <a:gd name="T62" fmla="*/ 1709 w 6696"/>
                    <a:gd name="T63" fmla="*/ 2236 h 6695"/>
                    <a:gd name="T64" fmla="*/ 2303 w 6696"/>
                    <a:gd name="T65" fmla="*/ 1904 h 6695"/>
                    <a:gd name="T66" fmla="*/ 2657 w 6696"/>
                    <a:gd name="T67" fmla="*/ 1772 h 6695"/>
                    <a:gd name="T68" fmla="*/ 3029 w 6696"/>
                    <a:gd name="T69" fmla="*/ 1688 h 6695"/>
                    <a:gd name="T70" fmla="*/ 3349 w 6696"/>
                    <a:gd name="T71" fmla="*/ 1666 h 6695"/>
                    <a:gd name="T72" fmla="*/ 3731 w 6696"/>
                    <a:gd name="T73" fmla="*/ 1698 h 6695"/>
                    <a:gd name="T74" fmla="*/ 4099 w 6696"/>
                    <a:gd name="T75" fmla="*/ 1790 h 6695"/>
                    <a:gd name="T76" fmla="*/ 4449 w 6696"/>
                    <a:gd name="T77" fmla="*/ 1930 h 6695"/>
                    <a:gd name="T78" fmla="*/ 5088 w 6696"/>
                    <a:gd name="T79" fmla="*/ 2304 h 6695"/>
                    <a:gd name="T80" fmla="*/ 5614 w 6696"/>
                    <a:gd name="T81" fmla="*/ 2732 h 6695"/>
                    <a:gd name="T82" fmla="*/ 6052 w 6696"/>
                    <a:gd name="T83" fmla="*/ 3174 h 6695"/>
                    <a:gd name="T84" fmla="*/ 286 w 6696"/>
                    <a:gd name="T85" fmla="*/ 3541 h 6695"/>
                    <a:gd name="T86" fmla="*/ 832 w 6696"/>
                    <a:gd name="T87" fmla="*/ 4123 h 6695"/>
                    <a:gd name="T88" fmla="*/ 1180 w 6696"/>
                    <a:gd name="T89" fmla="*/ 4427 h 6695"/>
                    <a:gd name="T90" fmla="*/ 1602 w 6696"/>
                    <a:gd name="T91" fmla="*/ 4733 h 6695"/>
                    <a:gd name="T92" fmla="*/ 2027 w 6696"/>
                    <a:gd name="T93" fmla="*/ 4977 h 6695"/>
                    <a:gd name="T94" fmla="*/ 2451 w 6696"/>
                    <a:gd name="T95" fmla="*/ 5155 h 6695"/>
                    <a:gd name="T96" fmla="*/ 2869 w 6696"/>
                    <a:gd name="T97" fmla="*/ 5267 h 6695"/>
                    <a:gd name="T98" fmla="*/ 3281 w 6696"/>
                    <a:gd name="T99" fmla="*/ 5313 h 6695"/>
                    <a:gd name="T100" fmla="*/ 3621 w 6696"/>
                    <a:gd name="T101" fmla="*/ 5299 h 6695"/>
                    <a:gd name="T102" fmla="*/ 4035 w 6696"/>
                    <a:gd name="T103" fmla="*/ 5219 h 6695"/>
                    <a:gd name="T104" fmla="*/ 4457 w 6696"/>
                    <a:gd name="T105" fmla="*/ 5073 h 6695"/>
                    <a:gd name="T106" fmla="*/ 4881 w 6696"/>
                    <a:gd name="T107" fmla="*/ 4863 h 6695"/>
                    <a:gd name="T108" fmla="*/ 5306 w 6696"/>
                    <a:gd name="T109" fmla="*/ 4587 h 6695"/>
                    <a:gd name="T110" fmla="*/ 5660 w 6696"/>
                    <a:gd name="T111" fmla="*/ 4307 h 6695"/>
                    <a:gd name="T112" fmla="*/ 6196 w 6696"/>
                    <a:gd name="T113" fmla="*/ 3787 h 669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696" h="6695">
                      <a:moveTo>
                        <a:pt x="0" y="0"/>
                      </a:moveTo>
                      <a:lnTo>
                        <a:pt x="0" y="6695"/>
                      </a:lnTo>
                      <a:lnTo>
                        <a:pt x="6696" y="6695"/>
                      </a:lnTo>
                      <a:lnTo>
                        <a:pt x="6696" y="0"/>
                      </a:lnTo>
                      <a:lnTo>
                        <a:pt x="0" y="0"/>
                      </a:lnTo>
                      <a:close/>
                      <a:moveTo>
                        <a:pt x="6412" y="286"/>
                      </a:moveTo>
                      <a:lnTo>
                        <a:pt x="6412" y="3154"/>
                      </a:lnTo>
                      <a:lnTo>
                        <a:pt x="6412" y="3154"/>
                      </a:lnTo>
                      <a:lnTo>
                        <a:pt x="6354" y="3084"/>
                      </a:lnTo>
                      <a:lnTo>
                        <a:pt x="6282" y="3002"/>
                      </a:lnTo>
                      <a:lnTo>
                        <a:pt x="6196" y="2906"/>
                      </a:lnTo>
                      <a:lnTo>
                        <a:pt x="6098" y="2802"/>
                      </a:lnTo>
                      <a:lnTo>
                        <a:pt x="5988" y="2690"/>
                      </a:lnTo>
                      <a:lnTo>
                        <a:pt x="5864" y="2572"/>
                      </a:lnTo>
                      <a:lnTo>
                        <a:pt x="5800" y="2512"/>
                      </a:lnTo>
                      <a:lnTo>
                        <a:pt x="5730" y="2450"/>
                      </a:lnTo>
                      <a:lnTo>
                        <a:pt x="5660" y="2388"/>
                      </a:lnTo>
                      <a:lnTo>
                        <a:pt x="5586" y="2326"/>
                      </a:lnTo>
                      <a:lnTo>
                        <a:pt x="5586" y="2326"/>
                      </a:lnTo>
                      <a:lnTo>
                        <a:pt x="5516" y="2268"/>
                      </a:lnTo>
                      <a:lnTo>
                        <a:pt x="5446" y="2212"/>
                      </a:lnTo>
                      <a:lnTo>
                        <a:pt x="5376" y="2160"/>
                      </a:lnTo>
                      <a:lnTo>
                        <a:pt x="5306" y="2108"/>
                      </a:lnTo>
                      <a:lnTo>
                        <a:pt x="5234" y="2058"/>
                      </a:lnTo>
                      <a:lnTo>
                        <a:pt x="5164" y="2008"/>
                      </a:lnTo>
                      <a:lnTo>
                        <a:pt x="5094" y="1962"/>
                      </a:lnTo>
                      <a:lnTo>
                        <a:pt x="5024" y="1916"/>
                      </a:lnTo>
                      <a:lnTo>
                        <a:pt x="4951" y="1874"/>
                      </a:lnTo>
                      <a:lnTo>
                        <a:pt x="4881" y="1832"/>
                      </a:lnTo>
                      <a:lnTo>
                        <a:pt x="4811" y="1792"/>
                      </a:lnTo>
                      <a:lnTo>
                        <a:pt x="4739" y="1754"/>
                      </a:lnTo>
                      <a:lnTo>
                        <a:pt x="4669" y="1718"/>
                      </a:lnTo>
                      <a:lnTo>
                        <a:pt x="4599" y="1684"/>
                      </a:lnTo>
                      <a:lnTo>
                        <a:pt x="4527" y="1652"/>
                      </a:lnTo>
                      <a:lnTo>
                        <a:pt x="4457" y="1620"/>
                      </a:lnTo>
                      <a:lnTo>
                        <a:pt x="4387" y="1592"/>
                      </a:lnTo>
                      <a:lnTo>
                        <a:pt x="4315" y="1564"/>
                      </a:lnTo>
                      <a:lnTo>
                        <a:pt x="4245" y="1540"/>
                      </a:lnTo>
                      <a:lnTo>
                        <a:pt x="4175" y="1516"/>
                      </a:lnTo>
                      <a:lnTo>
                        <a:pt x="4105" y="1494"/>
                      </a:lnTo>
                      <a:lnTo>
                        <a:pt x="4035" y="1474"/>
                      </a:lnTo>
                      <a:lnTo>
                        <a:pt x="3965" y="1456"/>
                      </a:lnTo>
                      <a:lnTo>
                        <a:pt x="3897" y="1440"/>
                      </a:lnTo>
                      <a:lnTo>
                        <a:pt x="3827" y="1426"/>
                      </a:lnTo>
                      <a:lnTo>
                        <a:pt x="3757" y="1414"/>
                      </a:lnTo>
                      <a:lnTo>
                        <a:pt x="3689" y="1404"/>
                      </a:lnTo>
                      <a:lnTo>
                        <a:pt x="3621" y="1396"/>
                      </a:lnTo>
                      <a:lnTo>
                        <a:pt x="3551" y="1388"/>
                      </a:lnTo>
                      <a:lnTo>
                        <a:pt x="3483" y="1384"/>
                      </a:lnTo>
                      <a:lnTo>
                        <a:pt x="3415" y="1380"/>
                      </a:lnTo>
                      <a:lnTo>
                        <a:pt x="3349" y="1380"/>
                      </a:lnTo>
                      <a:lnTo>
                        <a:pt x="3349" y="1380"/>
                      </a:lnTo>
                      <a:lnTo>
                        <a:pt x="3281" y="1380"/>
                      </a:lnTo>
                      <a:lnTo>
                        <a:pt x="3213" y="1384"/>
                      </a:lnTo>
                      <a:lnTo>
                        <a:pt x="3145" y="1388"/>
                      </a:lnTo>
                      <a:lnTo>
                        <a:pt x="3077" y="1396"/>
                      </a:lnTo>
                      <a:lnTo>
                        <a:pt x="3007" y="1404"/>
                      </a:lnTo>
                      <a:lnTo>
                        <a:pt x="2939" y="1414"/>
                      </a:lnTo>
                      <a:lnTo>
                        <a:pt x="2869" y="1426"/>
                      </a:lnTo>
                      <a:lnTo>
                        <a:pt x="2801" y="1440"/>
                      </a:lnTo>
                      <a:lnTo>
                        <a:pt x="2731" y="1456"/>
                      </a:lnTo>
                      <a:lnTo>
                        <a:pt x="2661" y="1474"/>
                      </a:lnTo>
                      <a:lnTo>
                        <a:pt x="2591" y="1494"/>
                      </a:lnTo>
                      <a:lnTo>
                        <a:pt x="2521" y="1516"/>
                      </a:lnTo>
                      <a:lnTo>
                        <a:pt x="2451" y="1540"/>
                      </a:lnTo>
                      <a:lnTo>
                        <a:pt x="2381" y="1564"/>
                      </a:lnTo>
                      <a:lnTo>
                        <a:pt x="2311" y="1592"/>
                      </a:lnTo>
                      <a:lnTo>
                        <a:pt x="2239" y="1620"/>
                      </a:lnTo>
                      <a:lnTo>
                        <a:pt x="2169" y="1652"/>
                      </a:lnTo>
                      <a:lnTo>
                        <a:pt x="2099" y="1684"/>
                      </a:lnTo>
                      <a:lnTo>
                        <a:pt x="2027" y="1718"/>
                      </a:lnTo>
                      <a:lnTo>
                        <a:pt x="1957" y="1754"/>
                      </a:lnTo>
                      <a:lnTo>
                        <a:pt x="1887" y="1792"/>
                      </a:lnTo>
                      <a:lnTo>
                        <a:pt x="1815" y="1832"/>
                      </a:lnTo>
                      <a:lnTo>
                        <a:pt x="1745" y="1874"/>
                      </a:lnTo>
                      <a:lnTo>
                        <a:pt x="1675" y="1916"/>
                      </a:lnTo>
                      <a:lnTo>
                        <a:pt x="1602" y="1962"/>
                      </a:lnTo>
                      <a:lnTo>
                        <a:pt x="1532" y="2008"/>
                      </a:lnTo>
                      <a:lnTo>
                        <a:pt x="1462" y="2058"/>
                      </a:lnTo>
                      <a:lnTo>
                        <a:pt x="1392" y="2108"/>
                      </a:lnTo>
                      <a:lnTo>
                        <a:pt x="1320" y="2160"/>
                      </a:lnTo>
                      <a:lnTo>
                        <a:pt x="1250" y="2212"/>
                      </a:lnTo>
                      <a:lnTo>
                        <a:pt x="1180" y="2268"/>
                      </a:lnTo>
                      <a:lnTo>
                        <a:pt x="1110" y="2326"/>
                      </a:lnTo>
                      <a:lnTo>
                        <a:pt x="1110" y="2326"/>
                      </a:lnTo>
                      <a:lnTo>
                        <a:pt x="1036" y="2388"/>
                      </a:lnTo>
                      <a:lnTo>
                        <a:pt x="966" y="2450"/>
                      </a:lnTo>
                      <a:lnTo>
                        <a:pt x="898" y="2512"/>
                      </a:lnTo>
                      <a:lnTo>
                        <a:pt x="832" y="2572"/>
                      </a:lnTo>
                      <a:lnTo>
                        <a:pt x="708" y="2690"/>
                      </a:lnTo>
                      <a:lnTo>
                        <a:pt x="598" y="2802"/>
                      </a:lnTo>
                      <a:lnTo>
                        <a:pt x="500" y="2906"/>
                      </a:lnTo>
                      <a:lnTo>
                        <a:pt x="414" y="3002"/>
                      </a:lnTo>
                      <a:lnTo>
                        <a:pt x="342" y="3084"/>
                      </a:lnTo>
                      <a:lnTo>
                        <a:pt x="286" y="3154"/>
                      </a:lnTo>
                      <a:lnTo>
                        <a:pt x="286" y="286"/>
                      </a:lnTo>
                      <a:lnTo>
                        <a:pt x="6412" y="286"/>
                      </a:lnTo>
                      <a:close/>
                      <a:moveTo>
                        <a:pt x="6200" y="3348"/>
                      </a:moveTo>
                      <a:lnTo>
                        <a:pt x="6200" y="3348"/>
                      </a:lnTo>
                      <a:lnTo>
                        <a:pt x="6136" y="3423"/>
                      </a:lnTo>
                      <a:lnTo>
                        <a:pt x="6052" y="3521"/>
                      </a:lnTo>
                      <a:lnTo>
                        <a:pt x="5948" y="3633"/>
                      </a:lnTo>
                      <a:lnTo>
                        <a:pt x="5890" y="3695"/>
                      </a:lnTo>
                      <a:lnTo>
                        <a:pt x="5826" y="3759"/>
                      </a:lnTo>
                      <a:lnTo>
                        <a:pt x="5760" y="3825"/>
                      </a:lnTo>
                      <a:lnTo>
                        <a:pt x="5688" y="3893"/>
                      </a:lnTo>
                      <a:lnTo>
                        <a:pt x="5614" y="3963"/>
                      </a:lnTo>
                      <a:lnTo>
                        <a:pt x="5534" y="4035"/>
                      </a:lnTo>
                      <a:lnTo>
                        <a:pt x="5452" y="4105"/>
                      </a:lnTo>
                      <a:lnTo>
                        <a:pt x="5366" y="4177"/>
                      </a:lnTo>
                      <a:lnTo>
                        <a:pt x="5276" y="4249"/>
                      </a:lnTo>
                      <a:lnTo>
                        <a:pt x="5184" y="4321"/>
                      </a:lnTo>
                      <a:lnTo>
                        <a:pt x="5088" y="4391"/>
                      </a:lnTo>
                      <a:lnTo>
                        <a:pt x="4987" y="4459"/>
                      </a:lnTo>
                      <a:lnTo>
                        <a:pt x="4885" y="4525"/>
                      </a:lnTo>
                      <a:lnTo>
                        <a:pt x="4781" y="4589"/>
                      </a:lnTo>
                      <a:lnTo>
                        <a:pt x="4673" y="4651"/>
                      </a:lnTo>
                      <a:lnTo>
                        <a:pt x="4563" y="4711"/>
                      </a:lnTo>
                      <a:lnTo>
                        <a:pt x="4449" y="4765"/>
                      </a:lnTo>
                      <a:lnTo>
                        <a:pt x="4393" y="4791"/>
                      </a:lnTo>
                      <a:lnTo>
                        <a:pt x="4335" y="4815"/>
                      </a:lnTo>
                      <a:lnTo>
                        <a:pt x="4277" y="4839"/>
                      </a:lnTo>
                      <a:lnTo>
                        <a:pt x="4217" y="4863"/>
                      </a:lnTo>
                      <a:lnTo>
                        <a:pt x="4159" y="4883"/>
                      </a:lnTo>
                      <a:lnTo>
                        <a:pt x="4099" y="4905"/>
                      </a:lnTo>
                      <a:lnTo>
                        <a:pt x="4039" y="4923"/>
                      </a:lnTo>
                      <a:lnTo>
                        <a:pt x="3977" y="4941"/>
                      </a:lnTo>
                      <a:lnTo>
                        <a:pt x="3917" y="4957"/>
                      </a:lnTo>
                      <a:lnTo>
                        <a:pt x="3855" y="4971"/>
                      </a:lnTo>
                      <a:lnTo>
                        <a:pt x="3793" y="4985"/>
                      </a:lnTo>
                      <a:lnTo>
                        <a:pt x="3731" y="4995"/>
                      </a:lnTo>
                      <a:lnTo>
                        <a:pt x="3667" y="5005"/>
                      </a:lnTo>
                      <a:lnTo>
                        <a:pt x="3605" y="5015"/>
                      </a:lnTo>
                      <a:lnTo>
                        <a:pt x="3541" y="5021"/>
                      </a:lnTo>
                      <a:lnTo>
                        <a:pt x="3477" y="5025"/>
                      </a:lnTo>
                      <a:lnTo>
                        <a:pt x="3413" y="5029"/>
                      </a:lnTo>
                      <a:lnTo>
                        <a:pt x="3349" y="5029"/>
                      </a:lnTo>
                      <a:lnTo>
                        <a:pt x="3349" y="5029"/>
                      </a:lnTo>
                      <a:lnTo>
                        <a:pt x="3283" y="5029"/>
                      </a:lnTo>
                      <a:lnTo>
                        <a:pt x="3219" y="5025"/>
                      </a:lnTo>
                      <a:lnTo>
                        <a:pt x="3155" y="5021"/>
                      </a:lnTo>
                      <a:lnTo>
                        <a:pt x="3093" y="5015"/>
                      </a:lnTo>
                      <a:lnTo>
                        <a:pt x="3029" y="5005"/>
                      </a:lnTo>
                      <a:lnTo>
                        <a:pt x="2965" y="4995"/>
                      </a:lnTo>
                      <a:lnTo>
                        <a:pt x="2903" y="4985"/>
                      </a:lnTo>
                      <a:lnTo>
                        <a:pt x="2841" y="4971"/>
                      </a:lnTo>
                      <a:lnTo>
                        <a:pt x="2779" y="4957"/>
                      </a:lnTo>
                      <a:lnTo>
                        <a:pt x="2719" y="4941"/>
                      </a:lnTo>
                      <a:lnTo>
                        <a:pt x="2657" y="4923"/>
                      </a:lnTo>
                      <a:lnTo>
                        <a:pt x="2597" y="4905"/>
                      </a:lnTo>
                      <a:lnTo>
                        <a:pt x="2537" y="4883"/>
                      </a:lnTo>
                      <a:lnTo>
                        <a:pt x="2479" y="4863"/>
                      </a:lnTo>
                      <a:lnTo>
                        <a:pt x="2419" y="4839"/>
                      </a:lnTo>
                      <a:lnTo>
                        <a:pt x="2361" y="4815"/>
                      </a:lnTo>
                      <a:lnTo>
                        <a:pt x="2303" y="4791"/>
                      </a:lnTo>
                      <a:lnTo>
                        <a:pt x="2247" y="4765"/>
                      </a:lnTo>
                      <a:lnTo>
                        <a:pt x="2133" y="4709"/>
                      </a:lnTo>
                      <a:lnTo>
                        <a:pt x="2023" y="4651"/>
                      </a:lnTo>
                      <a:lnTo>
                        <a:pt x="1917" y="4589"/>
                      </a:lnTo>
                      <a:lnTo>
                        <a:pt x="1811" y="4525"/>
                      </a:lnTo>
                      <a:lnTo>
                        <a:pt x="1709" y="4459"/>
                      </a:lnTo>
                      <a:lnTo>
                        <a:pt x="1608" y="4391"/>
                      </a:lnTo>
                      <a:lnTo>
                        <a:pt x="1512" y="4321"/>
                      </a:lnTo>
                      <a:lnTo>
                        <a:pt x="1420" y="4249"/>
                      </a:lnTo>
                      <a:lnTo>
                        <a:pt x="1330" y="4177"/>
                      </a:lnTo>
                      <a:lnTo>
                        <a:pt x="1244" y="4105"/>
                      </a:lnTo>
                      <a:lnTo>
                        <a:pt x="1162" y="4035"/>
                      </a:lnTo>
                      <a:lnTo>
                        <a:pt x="1082" y="3963"/>
                      </a:lnTo>
                      <a:lnTo>
                        <a:pt x="1008" y="3893"/>
                      </a:lnTo>
                      <a:lnTo>
                        <a:pt x="936" y="3825"/>
                      </a:lnTo>
                      <a:lnTo>
                        <a:pt x="870" y="3759"/>
                      </a:lnTo>
                      <a:lnTo>
                        <a:pt x="806" y="3695"/>
                      </a:lnTo>
                      <a:lnTo>
                        <a:pt x="748" y="3633"/>
                      </a:lnTo>
                      <a:lnTo>
                        <a:pt x="644" y="3521"/>
                      </a:lnTo>
                      <a:lnTo>
                        <a:pt x="560" y="3423"/>
                      </a:lnTo>
                      <a:lnTo>
                        <a:pt x="496" y="3348"/>
                      </a:lnTo>
                      <a:lnTo>
                        <a:pt x="496" y="3348"/>
                      </a:lnTo>
                      <a:lnTo>
                        <a:pt x="560" y="3270"/>
                      </a:lnTo>
                      <a:lnTo>
                        <a:pt x="644" y="3174"/>
                      </a:lnTo>
                      <a:lnTo>
                        <a:pt x="748" y="3062"/>
                      </a:lnTo>
                      <a:lnTo>
                        <a:pt x="806" y="3000"/>
                      </a:lnTo>
                      <a:lnTo>
                        <a:pt x="868" y="2936"/>
                      </a:lnTo>
                      <a:lnTo>
                        <a:pt x="936" y="2870"/>
                      </a:lnTo>
                      <a:lnTo>
                        <a:pt x="1006" y="2800"/>
                      </a:lnTo>
                      <a:lnTo>
                        <a:pt x="1082" y="2732"/>
                      </a:lnTo>
                      <a:lnTo>
                        <a:pt x="1160" y="2660"/>
                      </a:lnTo>
                      <a:lnTo>
                        <a:pt x="1244" y="2588"/>
                      </a:lnTo>
                      <a:lnTo>
                        <a:pt x="1330" y="2516"/>
                      </a:lnTo>
                      <a:lnTo>
                        <a:pt x="1418" y="2446"/>
                      </a:lnTo>
                      <a:lnTo>
                        <a:pt x="1512" y="2374"/>
                      </a:lnTo>
                      <a:lnTo>
                        <a:pt x="1608" y="2304"/>
                      </a:lnTo>
                      <a:lnTo>
                        <a:pt x="1709" y="2236"/>
                      </a:lnTo>
                      <a:lnTo>
                        <a:pt x="1811" y="2168"/>
                      </a:lnTo>
                      <a:lnTo>
                        <a:pt x="1915" y="2104"/>
                      </a:lnTo>
                      <a:lnTo>
                        <a:pt x="2023" y="2042"/>
                      </a:lnTo>
                      <a:lnTo>
                        <a:pt x="2133" y="1984"/>
                      </a:lnTo>
                      <a:lnTo>
                        <a:pt x="2245" y="1930"/>
                      </a:lnTo>
                      <a:lnTo>
                        <a:pt x="2303" y="1904"/>
                      </a:lnTo>
                      <a:lnTo>
                        <a:pt x="2361" y="1878"/>
                      </a:lnTo>
                      <a:lnTo>
                        <a:pt x="2419" y="1854"/>
                      </a:lnTo>
                      <a:lnTo>
                        <a:pt x="2477" y="1832"/>
                      </a:lnTo>
                      <a:lnTo>
                        <a:pt x="2537" y="1810"/>
                      </a:lnTo>
                      <a:lnTo>
                        <a:pt x="2597" y="1790"/>
                      </a:lnTo>
                      <a:lnTo>
                        <a:pt x="2657" y="1772"/>
                      </a:lnTo>
                      <a:lnTo>
                        <a:pt x="2717" y="1754"/>
                      </a:lnTo>
                      <a:lnTo>
                        <a:pt x="2779" y="1738"/>
                      </a:lnTo>
                      <a:lnTo>
                        <a:pt x="2841" y="1724"/>
                      </a:lnTo>
                      <a:lnTo>
                        <a:pt x="2903" y="1710"/>
                      </a:lnTo>
                      <a:lnTo>
                        <a:pt x="2965" y="1698"/>
                      </a:lnTo>
                      <a:lnTo>
                        <a:pt x="3029" y="1688"/>
                      </a:lnTo>
                      <a:lnTo>
                        <a:pt x="3091" y="1680"/>
                      </a:lnTo>
                      <a:lnTo>
                        <a:pt x="3155" y="1674"/>
                      </a:lnTo>
                      <a:lnTo>
                        <a:pt x="3219" y="1670"/>
                      </a:lnTo>
                      <a:lnTo>
                        <a:pt x="3283" y="1666"/>
                      </a:lnTo>
                      <a:lnTo>
                        <a:pt x="3349" y="1666"/>
                      </a:lnTo>
                      <a:lnTo>
                        <a:pt x="3349" y="1666"/>
                      </a:lnTo>
                      <a:lnTo>
                        <a:pt x="3413" y="1666"/>
                      </a:lnTo>
                      <a:lnTo>
                        <a:pt x="3477" y="1670"/>
                      </a:lnTo>
                      <a:lnTo>
                        <a:pt x="3541" y="1674"/>
                      </a:lnTo>
                      <a:lnTo>
                        <a:pt x="3605" y="1680"/>
                      </a:lnTo>
                      <a:lnTo>
                        <a:pt x="3667" y="1688"/>
                      </a:lnTo>
                      <a:lnTo>
                        <a:pt x="3731" y="1698"/>
                      </a:lnTo>
                      <a:lnTo>
                        <a:pt x="3793" y="1710"/>
                      </a:lnTo>
                      <a:lnTo>
                        <a:pt x="3855" y="1724"/>
                      </a:lnTo>
                      <a:lnTo>
                        <a:pt x="3917" y="1738"/>
                      </a:lnTo>
                      <a:lnTo>
                        <a:pt x="3977" y="1754"/>
                      </a:lnTo>
                      <a:lnTo>
                        <a:pt x="4039" y="1772"/>
                      </a:lnTo>
                      <a:lnTo>
                        <a:pt x="4099" y="1790"/>
                      </a:lnTo>
                      <a:lnTo>
                        <a:pt x="4159" y="1810"/>
                      </a:lnTo>
                      <a:lnTo>
                        <a:pt x="4217" y="1832"/>
                      </a:lnTo>
                      <a:lnTo>
                        <a:pt x="4277" y="1854"/>
                      </a:lnTo>
                      <a:lnTo>
                        <a:pt x="4335" y="1878"/>
                      </a:lnTo>
                      <a:lnTo>
                        <a:pt x="4393" y="1904"/>
                      </a:lnTo>
                      <a:lnTo>
                        <a:pt x="4449" y="1930"/>
                      </a:lnTo>
                      <a:lnTo>
                        <a:pt x="4563" y="1984"/>
                      </a:lnTo>
                      <a:lnTo>
                        <a:pt x="4673" y="2042"/>
                      </a:lnTo>
                      <a:lnTo>
                        <a:pt x="4781" y="2104"/>
                      </a:lnTo>
                      <a:lnTo>
                        <a:pt x="4885" y="2168"/>
                      </a:lnTo>
                      <a:lnTo>
                        <a:pt x="4987" y="2236"/>
                      </a:lnTo>
                      <a:lnTo>
                        <a:pt x="5088" y="2304"/>
                      </a:lnTo>
                      <a:lnTo>
                        <a:pt x="5184" y="2374"/>
                      </a:lnTo>
                      <a:lnTo>
                        <a:pt x="5276" y="2446"/>
                      </a:lnTo>
                      <a:lnTo>
                        <a:pt x="5366" y="2516"/>
                      </a:lnTo>
                      <a:lnTo>
                        <a:pt x="5452" y="2588"/>
                      </a:lnTo>
                      <a:lnTo>
                        <a:pt x="5534" y="2660"/>
                      </a:lnTo>
                      <a:lnTo>
                        <a:pt x="5614" y="2732"/>
                      </a:lnTo>
                      <a:lnTo>
                        <a:pt x="5688" y="2802"/>
                      </a:lnTo>
                      <a:lnTo>
                        <a:pt x="5760" y="2870"/>
                      </a:lnTo>
                      <a:lnTo>
                        <a:pt x="5826" y="2936"/>
                      </a:lnTo>
                      <a:lnTo>
                        <a:pt x="5890" y="3000"/>
                      </a:lnTo>
                      <a:lnTo>
                        <a:pt x="5948" y="3062"/>
                      </a:lnTo>
                      <a:lnTo>
                        <a:pt x="6052" y="3174"/>
                      </a:lnTo>
                      <a:lnTo>
                        <a:pt x="6136" y="3270"/>
                      </a:lnTo>
                      <a:lnTo>
                        <a:pt x="6200" y="3348"/>
                      </a:lnTo>
                      <a:lnTo>
                        <a:pt x="6200" y="3348"/>
                      </a:lnTo>
                      <a:close/>
                      <a:moveTo>
                        <a:pt x="286" y="6409"/>
                      </a:moveTo>
                      <a:lnTo>
                        <a:pt x="286" y="3541"/>
                      </a:lnTo>
                      <a:lnTo>
                        <a:pt x="286" y="3541"/>
                      </a:lnTo>
                      <a:lnTo>
                        <a:pt x="342" y="3611"/>
                      </a:lnTo>
                      <a:lnTo>
                        <a:pt x="414" y="3693"/>
                      </a:lnTo>
                      <a:lnTo>
                        <a:pt x="500" y="3787"/>
                      </a:lnTo>
                      <a:lnTo>
                        <a:pt x="598" y="3891"/>
                      </a:lnTo>
                      <a:lnTo>
                        <a:pt x="708" y="4005"/>
                      </a:lnTo>
                      <a:lnTo>
                        <a:pt x="832" y="4123"/>
                      </a:lnTo>
                      <a:lnTo>
                        <a:pt x="898" y="4183"/>
                      </a:lnTo>
                      <a:lnTo>
                        <a:pt x="966" y="4245"/>
                      </a:lnTo>
                      <a:lnTo>
                        <a:pt x="1036" y="4307"/>
                      </a:lnTo>
                      <a:lnTo>
                        <a:pt x="1110" y="4369"/>
                      </a:lnTo>
                      <a:lnTo>
                        <a:pt x="1110" y="4369"/>
                      </a:lnTo>
                      <a:lnTo>
                        <a:pt x="1180" y="4427"/>
                      </a:lnTo>
                      <a:lnTo>
                        <a:pt x="1250" y="4481"/>
                      </a:lnTo>
                      <a:lnTo>
                        <a:pt x="1320" y="4535"/>
                      </a:lnTo>
                      <a:lnTo>
                        <a:pt x="1392" y="4587"/>
                      </a:lnTo>
                      <a:lnTo>
                        <a:pt x="1462" y="4637"/>
                      </a:lnTo>
                      <a:lnTo>
                        <a:pt x="1532" y="4685"/>
                      </a:lnTo>
                      <a:lnTo>
                        <a:pt x="1602" y="4733"/>
                      </a:lnTo>
                      <a:lnTo>
                        <a:pt x="1675" y="4777"/>
                      </a:lnTo>
                      <a:lnTo>
                        <a:pt x="1745" y="4821"/>
                      </a:lnTo>
                      <a:lnTo>
                        <a:pt x="1815" y="4863"/>
                      </a:lnTo>
                      <a:lnTo>
                        <a:pt x="1887" y="4903"/>
                      </a:lnTo>
                      <a:lnTo>
                        <a:pt x="1957" y="4941"/>
                      </a:lnTo>
                      <a:lnTo>
                        <a:pt x="2027" y="4977"/>
                      </a:lnTo>
                      <a:lnTo>
                        <a:pt x="2099" y="5011"/>
                      </a:lnTo>
                      <a:lnTo>
                        <a:pt x="2169" y="5043"/>
                      </a:lnTo>
                      <a:lnTo>
                        <a:pt x="2239" y="5073"/>
                      </a:lnTo>
                      <a:lnTo>
                        <a:pt x="2311" y="5103"/>
                      </a:lnTo>
                      <a:lnTo>
                        <a:pt x="2381" y="5129"/>
                      </a:lnTo>
                      <a:lnTo>
                        <a:pt x="2451" y="5155"/>
                      </a:lnTo>
                      <a:lnTo>
                        <a:pt x="2521" y="5179"/>
                      </a:lnTo>
                      <a:lnTo>
                        <a:pt x="2591" y="5201"/>
                      </a:lnTo>
                      <a:lnTo>
                        <a:pt x="2661" y="5219"/>
                      </a:lnTo>
                      <a:lnTo>
                        <a:pt x="2731" y="5237"/>
                      </a:lnTo>
                      <a:lnTo>
                        <a:pt x="2801" y="5253"/>
                      </a:lnTo>
                      <a:lnTo>
                        <a:pt x="2869" y="5267"/>
                      </a:lnTo>
                      <a:lnTo>
                        <a:pt x="2939" y="5281"/>
                      </a:lnTo>
                      <a:lnTo>
                        <a:pt x="3007" y="5291"/>
                      </a:lnTo>
                      <a:lnTo>
                        <a:pt x="3077" y="5299"/>
                      </a:lnTo>
                      <a:lnTo>
                        <a:pt x="3145" y="5305"/>
                      </a:lnTo>
                      <a:lnTo>
                        <a:pt x="3213" y="5311"/>
                      </a:lnTo>
                      <a:lnTo>
                        <a:pt x="3281" y="5313"/>
                      </a:lnTo>
                      <a:lnTo>
                        <a:pt x="3349" y="5315"/>
                      </a:lnTo>
                      <a:lnTo>
                        <a:pt x="3349" y="5315"/>
                      </a:lnTo>
                      <a:lnTo>
                        <a:pt x="3415" y="5313"/>
                      </a:lnTo>
                      <a:lnTo>
                        <a:pt x="3483" y="5311"/>
                      </a:lnTo>
                      <a:lnTo>
                        <a:pt x="3551" y="5305"/>
                      </a:lnTo>
                      <a:lnTo>
                        <a:pt x="3621" y="5299"/>
                      </a:lnTo>
                      <a:lnTo>
                        <a:pt x="3689" y="5291"/>
                      </a:lnTo>
                      <a:lnTo>
                        <a:pt x="3757" y="5281"/>
                      </a:lnTo>
                      <a:lnTo>
                        <a:pt x="3827" y="5267"/>
                      </a:lnTo>
                      <a:lnTo>
                        <a:pt x="3897" y="5253"/>
                      </a:lnTo>
                      <a:lnTo>
                        <a:pt x="3965" y="5237"/>
                      </a:lnTo>
                      <a:lnTo>
                        <a:pt x="4035" y="5219"/>
                      </a:lnTo>
                      <a:lnTo>
                        <a:pt x="4105" y="5201"/>
                      </a:lnTo>
                      <a:lnTo>
                        <a:pt x="4175" y="5179"/>
                      </a:lnTo>
                      <a:lnTo>
                        <a:pt x="4245" y="5155"/>
                      </a:lnTo>
                      <a:lnTo>
                        <a:pt x="4315" y="5129"/>
                      </a:lnTo>
                      <a:lnTo>
                        <a:pt x="4387" y="5103"/>
                      </a:lnTo>
                      <a:lnTo>
                        <a:pt x="4457" y="5073"/>
                      </a:lnTo>
                      <a:lnTo>
                        <a:pt x="4527" y="5043"/>
                      </a:lnTo>
                      <a:lnTo>
                        <a:pt x="4599" y="5011"/>
                      </a:lnTo>
                      <a:lnTo>
                        <a:pt x="4669" y="4977"/>
                      </a:lnTo>
                      <a:lnTo>
                        <a:pt x="4739" y="4941"/>
                      </a:lnTo>
                      <a:lnTo>
                        <a:pt x="4811" y="4903"/>
                      </a:lnTo>
                      <a:lnTo>
                        <a:pt x="4881" y="4863"/>
                      </a:lnTo>
                      <a:lnTo>
                        <a:pt x="4951" y="4821"/>
                      </a:lnTo>
                      <a:lnTo>
                        <a:pt x="5024" y="4777"/>
                      </a:lnTo>
                      <a:lnTo>
                        <a:pt x="5094" y="4733"/>
                      </a:lnTo>
                      <a:lnTo>
                        <a:pt x="5164" y="4685"/>
                      </a:lnTo>
                      <a:lnTo>
                        <a:pt x="5234" y="4637"/>
                      </a:lnTo>
                      <a:lnTo>
                        <a:pt x="5306" y="4587"/>
                      </a:lnTo>
                      <a:lnTo>
                        <a:pt x="5376" y="4535"/>
                      </a:lnTo>
                      <a:lnTo>
                        <a:pt x="5446" y="4481"/>
                      </a:lnTo>
                      <a:lnTo>
                        <a:pt x="5516" y="4427"/>
                      </a:lnTo>
                      <a:lnTo>
                        <a:pt x="5586" y="4369"/>
                      </a:lnTo>
                      <a:lnTo>
                        <a:pt x="5586" y="4369"/>
                      </a:lnTo>
                      <a:lnTo>
                        <a:pt x="5660" y="4307"/>
                      </a:lnTo>
                      <a:lnTo>
                        <a:pt x="5730" y="4245"/>
                      </a:lnTo>
                      <a:lnTo>
                        <a:pt x="5800" y="4183"/>
                      </a:lnTo>
                      <a:lnTo>
                        <a:pt x="5864" y="4123"/>
                      </a:lnTo>
                      <a:lnTo>
                        <a:pt x="5988" y="4003"/>
                      </a:lnTo>
                      <a:lnTo>
                        <a:pt x="6098" y="3891"/>
                      </a:lnTo>
                      <a:lnTo>
                        <a:pt x="6196" y="3787"/>
                      </a:lnTo>
                      <a:lnTo>
                        <a:pt x="6282" y="3693"/>
                      </a:lnTo>
                      <a:lnTo>
                        <a:pt x="6354" y="3611"/>
                      </a:lnTo>
                      <a:lnTo>
                        <a:pt x="6412" y="3541"/>
                      </a:lnTo>
                      <a:lnTo>
                        <a:pt x="6412" y="6409"/>
                      </a:lnTo>
                      <a:lnTo>
                        <a:pt x="286" y="640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8191" tIns="39096" rIns="78191" bIns="3909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800"/>
                </a:p>
              </p:txBody>
            </p:sp>
            <p:sp>
              <p:nvSpPr>
                <p:cNvPr id="34" name="Freeform 18"/>
                <p:cNvSpPr>
                  <a:spLocks noEditPoints="1"/>
                </p:cNvSpPr>
                <p:nvPr/>
              </p:nvSpPr>
              <p:spPr bwMode="auto">
                <a:xfrm>
                  <a:off x="2843" y="1856"/>
                  <a:ext cx="2984" cy="2983"/>
                </a:xfrm>
                <a:custGeom>
                  <a:avLst/>
                  <a:gdLst>
                    <a:gd name="T0" fmla="*/ 1264 w 2984"/>
                    <a:gd name="T1" fmla="*/ 16 h 2983"/>
                    <a:gd name="T2" fmla="*/ 910 w 2984"/>
                    <a:gd name="T3" fmla="*/ 118 h 2983"/>
                    <a:gd name="T4" fmla="*/ 600 w 2984"/>
                    <a:gd name="T5" fmla="*/ 296 h 2983"/>
                    <a:gd name="T6" fmla="*/ 340 w 2984"/>
                    <a:gd name="T7" fmla="*/ 544 h 2983"/>
                    <a:gd name="T8" fmla="*/ 146 w 2984"/>
                    <a:gd name="T9" fmla="*/ 846 h 2983"/>
                    <a:gd name="T10" fmla="*/ 30 w 2984"/>
                    <a:gd name="T11" fmla="*/ 1192 h 2983"/>
                    <a:gd name="T12" fmla="*/ 0 w 2984"/>
                    <a:gd name="T13" fmla="*/ 1492 h 2983"/>
                    <a:gd name="T14" fmla="*/ 46 w 2984"/>
                    <a:gd name="T15" fmla="*/ 1863 h 2983"/>
                    <a:gd name="T16" fmla="*/ 180 w 2984"/>
                    <a:gd name="T17" fmla="*/ 2201 h 2983"/>
                    <a:gd name="T18" fmla="*/ 388 w 2984"/>
                    <a:gd name="T19" fmla="*/ 2493 h 2983"/>
                    <a:gd name="T20" fmla="*/ 658 w 2984"/>
                    <a:gd name="T21" fmla="*/ 2727 h 2983"/>
                    <a:gd name="T22" fmla="*/ 978 w 2984"/>
                    <a:gd name="T23" fmla="*/ 2893 h 2983"/>
                    <a:gd name="T24" fmla="*/ 1338 w 2984"/>
                    <a:gd name="T25" fmla="*/ 2975 h 2983"/>
                    <a:gd name="T26" fmla="*/ 1644 w 2984"/>
                    <a:gd name="T27" fmla="*/ 2975 h 2983"/>
                    <a:gd name="T28" fmla="*/ 2004 w 2984"/>
                    <a:gd name="T29" fmla="*/ 2893 h 2983"/>
                    <a:gd name="T30" fmla="*/ 2324 w 2984"/>
                    <a:gd name="T31" fmla="*/ 2727 h 2983"/>
                    <a:gd name="T32" fmla="*/ 2596 w 2984"/>
                    <a:gd name="T33" fmla="*/ 2493 h 2983"/>
                    <a:gd name="T34" fmla="*/ 2802 w 2984"/>
                    <a:gd name="T35" fmla="*/ 2201 h 2983"/>
                    <a:gd name="T36" fmla="*/ 2936 w 2984"/>
                    <a:gd name="T37" fmla="*/ 1863 h 2983"/>
                    <a:gd name="T38" fmla="*/ 2984 w 2984"/>
                    <a:gd name="T39" fmla="*/ 1492 h 2983"/>
                    <a:gd name="T40" fmla="*/ 2952 w 2984"/>
                    <a:gd name="T41" fmla="*/ 1192 h 2983"/>
                    <a:gd name="T42" fmla="*/ 2836 w 2984"/>
                    <a:gd name="T43" fmla="*/ 846 h 2983"/>
                    <a:gd name="T44" fmla="*/ 2642 w 2984"/>
                    <a:gd name="T45" fmla="*/ 544 h 2983"/>
                    <a:gd name="T46" fmla="*/ 2384 w 2984"/>
                    <a:gd name="T47" fmla="*/ 296 h 2983"/>
                    <a:gd name="T48" fmla="*/ 2072 w 2984"/>
                    <a:gd name="T49" fmla="*/ 118 h 2983"/>
                    <a:gd name="T50" fmla="*/ 1718 w 2984"/>
                    <a:gd name="T51" fmla="*/ 16 h 2983"/>
                    <a:gd name="T52" fmla="*/ 2688 w 2984"/>
                    <a:gd name="T53" fmla="*/ 1348 h 2983"/>
                    <a:gd name="T54" fmla="*/ 1736 w 2984"/>
                    <a:gd name="T55" fmla="*/ 312 h 2983"/>
                    <a:gd name="T56" fmla="*/ 1976 w 2984"/>
                    <a:gd name="T57" fmla="*/ 388 h 2983"/>
                    <a:gd name="T58" fmla="*/ 2192 w 2984"/>
                    <a:gd name="T59" fmla="*/ 512 h 2983"/>
                    <a:gd name="T60" fmla="*/ 2378 w 2984"/>
                    <a:gd name="T61" fmla="*/ 676 h 2983"/>
                    <a:gd name="T62" fmla="*/ 2526 w 2984"/>
                    <a:gd name="T63" fmla="*/ 874 h 2983"/>
                    <a:gd name="T64" fmla="*/ 2632 w 2984"/>
                    <a:gd name="T65" fmla="*/ 1100 h 2983"/>
                    <a:gd name="T66" fmla="*/ 2688 w 2984"/>
                    <a:gd name="T67" fmla="*/ 1348 h 2983"/>
                    <a:gd name="T68" fmla="*/ 294 w 2984"/>
                    <a:gd name="T69" fmla="*/ 1348 h 2983"/>
                    <a:gd name="T70" fmla="*/ 350 w 2984"/>
                    <a:gd name="T71" fmla="*/ 1100 h 2983"/>
                    <a:gd name="T72" fmla="*/ 456 w 2984"/>
                    <a:gd name="T73" fmla="*/ 874 h 2983"/>
                    <a:gd name="T74" fmla="*/ 604 w 2984"/>
                    <a:gd name="T75" fmla="*/ 676 h 2983"/>
                    <a:gd name="T76" fmla="*/ 790 w 2984"/>
                    <a:gd name="T77" fmla="*/ 512 h 2983"/>
                    <a:gd name="T78" fmla="*/ 1006 w 2984"/>
                    <a:gd name="T79" fmla="*/ 388 h 2983"/>
                    <a:gd name="T80" fmla="*/ 1246 w 2984"/>
                    <a:gd name="T81" fmla="*/ 312 h 2983"/>
                    <a:gd name="T82" fmla="*/ 1348 w 2984"/>
                    <a:gd name="T83" fmla="*/ 1633 h 2983"/>
                    <a:gd name="T84" fmla="*/ 1196 w 2984"/>
                    <a:gd name="T85" fmla="*/ 2661 h 2983"/>
                    <a:gd name="T86" fmla="*/ 960 w 2984"/>
                    <a:gd name="T87" fmla="*/ 2573 h 2983"/>
                    <a:gd name="T88" fmla="*/ 750 w 2984"/>
                    <a:gd name="T89" fmla="*/ 2441 h 2983"/>
                    <a:gd name="T90" fmla="*/ 572 w 2984"/>
                    <a:gd name="T91" fmla="*/ 2271 h 2983"/>
                    <a:gd name="T92" fmla="*/ 432 w 2984"/>
                    <a:gd name="T93" fmla="*/ 2065 h 2983"/>
                    <a:gd name="T94" fmla="*/ 336 w 2984"/>
                    <a:gd name="T95" fmla="*/ 1835 h 2983"/>
                    <a:gd name="T96" fmla="*/ 294 w 2984"/>
                    <a:gd name="T97" fmla="*/ 1633 h 2983"/>
                    <a:gd name="T98" fmla="*/ 2682 w 2984"/>
                    <a:gd name="T99" fmla="*/ 1685 h 2983"/>
                    <a:gd name="T100" fmla="*/ 2614 w 2984"/>
                    <a:gd name="T101" fmla="*/ 1929 h 2983"/>
                    <a:gd name="T102" fmla="*/ 2500 w 2984"/>
                    <a:gd name="T103" fmla="*/ 2151 h 2983"/>
                    <a:gd name="T104" fmla="*/ 2344 w 2984"/>
                    <a:gd name="T105" fmla="*/ 2343 h 2983"/>
                    <a:gd name="T106" fmla="*/ 2152 w 2984"/>
                    <a:gd name="T107" fmla="*/ 2499 h 2983"/>
                    <a:gd name="T108" fmla="*/ 1930 w 2984"/>
                    <a:gd name="T109" fmla="*/ 2613 h 2983"/>
                    <a:gd name="T110" fmla="*/ 1686 w 2984"/>
                    <a:gd name="T111" fmla="*/ 2681 h 29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2984" h="2983">
                      <a:moveTo>
                        <a:pt x="1492" y="0"/>
                      </a:moveTo>
                      <a:lnTo>
                        <a:pt x="1492" y="0"/>
                      </a:lnTo>
                      <a:lnTo>
                        <a:pt x="1414" y="2"/>
                      </a:lnTo>
                      <a:lnTo>
                        <a:pt x="1338" y="8"/>
                      </a:lnTo>
                      <a:lnTo>
                        <a:pt x="1264" y="16"/>
                      </a:lnTo>
                      <a:lnTo>
                        <a:pt x="1190" y="30"/>
                      </a:lnTo>
                      <a:lnTo>
                        <a:pt x="1118" y="46"/>
                      </a:lnTo>
                      <a:lnTo>
                        <a:pt x="1048" y="66"/>
                      </a:lnTo>
                      <a:lnTo>
                        <a:pt x="978" y="90"/>
                      </a:lnTo>
                      <a:lnTo>
                        <a:pt x="910" y="118"/>
                      </a:lnTo>
                      <a:lnTo>
                        <a:pt x="844" y="148"/>
                      </a:lnTo>
                      <a:lnTo>
                        <a:pt x="780" y="180"/>
                      </a:lnTo>
                      <a:lnTo>
                        <a:pt x="718" y="216"/>
                      </a:lnTo>
                      <a:lnTo>
                        <a:pt x="658" y="254"/>
                      </a:lnTo>
                      <a:lnTo>
                        <a:pt x="600" y="296"/>
                      </a:lnTo>
                      <a:lnTo>
                        <a:pt x="542" y="340"/>
                      </a:lnTo>
                      <a:lnTo>
                        <a:pt x="488" y="388"/>
                      </a:lnTo>
                      <a:lnTo>
                        <a:pt x="436" y="438"/>
                      </a:lnTo>
                      <a:lnTo>
                        <a:pt x="388" y="490"/>
                      </a:lnTo>
                      <a:lnTo>
                        <a:pt x="340" y="544"/>
                      </a:lnTo>
                      <a:lnTo>
                        <a:pt x="296" y="600"/>
                      </a:lnTo>
                      <a:lnTo>
                        <a:pt x="254" y="658"/>
                      </a:lnTo>
                      <a:lnTo>
                        <a:pt x="216" y="718"/>
                      </a:lnTo>
                      <a:lnTo>
                        <a:pt x="180" y="782"/>
                      </a:lnTo>
                      <a:lnTo>
                        <a:pt x="146" y="846"/>
                      </a:lnTo>
                      <a:lnTo>
                        <a:pt x="116" y="912"/>
                      </a:lnTo>
                      <a:lnTo>
                        <a:pt x="90" y="980"/>
                      </a:lnTo>
                      <a:lnTo>
                        <a:pt x="66" y="1048"/>
                      </a:lnTo>
                      <a:lnTo>
                        <a:pt x="46" y="1120"/>
                      </a:lnTo>
                      <a:lnTo>
                        <a:pt x="30" y="1192"/>
                      </a:lnTo>
                      <a:lnTo>
                        <a:pt x="16" y="1264"/>
                      </a:lnTo>
                      <a:lnTo>
                        <a:pt x="6" y="1340"/>
                      </a:lnTo>
                      <a:lnTo>
                        <a:pt x="2" y="1416"/>
                      </a:lnTo>
                      <a:lnTo>
                        <a:pt x="0" y="1492"/>
                      </a:lnTo>
                      <a:lnTo>
                        <a:pt x="0" y="1492"/>
                      </a:lnTo>
                      <a:lnTo>
                        <a:pt x="2" y="1567"/>
                      </a:lnTo>
                      <a:lnTo>
                        <a:pt x="6" y="1643"/>
                      </a:lnTo>
                      <a:lnTo>
                        <a:pt x="16" y="1717"/>
                      </a:lnTo>
                      <a:lnTo>
                        <a:pt x="30" y="1791"/>
                      </a:lnTo>
                      <a:lnTo>
                        <a:pt x="46" y="1863"/>
                      </a:lnTo>
                      <a:lnTo>
                        <a:pt x="66" y="1933"/>
                      </a:lnTo>
                      <a:lnTo>
                        <a:pt x="90" y="2003"/>
                      </a:lnTo>
                      <a:lnTo>
                        <a:pt x="116" y="2071"/>
                      </a:lnTo>
                      <a:lnTo>
                        <a:pt x="146" y="2137"/>
                      </a:lnTo>
                      <a:lnTo>
                        <a:pt x="180" y="2201"/>
                      </a:lnTo>
                      <a:lnTo>
                        <a:pt x="216" y="2263"/>
                      </a:lnTo>
                      <a:lnTo>
                        <a:pt x="254" y="2325"/>
                      </a:lnTo>
                      <a:lnTo>
                        <a:pt x="296" y="2383"/>
                      </a:lnTo>
                      <a:lnTo>
                        <a:pt x="340" y="2439"/>
                      </a:lnTo>
                      <a:lnTo>
                        <a:pt x="388" y="2493"/>
                      </a:lnTo>
                      <a:lnTo>
                        <a:pt x="436" y="2545"/>
                      </a:lnTo>
                      <a:lnTo>
                        <a:pt x="488" y="2595"/>
                      </a:lnTo>
                      <a:lnTo>
                        <a:pt x="542" y="2641"/>
                      </a:lnTo>
                      <a:lnTo>
                        <a:pt x="600" y="2687"/>
                      </a:lnTo>
                      <a:lnTo>
                        <a:pt x="658" y="2727"/>
                      </a:lnTo>
                      <a:lnTo>
                        <a:pt x="718" y="2767"/>
                      </a:lnTo>
                      <a:lnTo>
                        <a:pt x="780" y="2803"/>
                      </a:lnTo>
                      <a:lnTo>
                        <a:pt x="844" y="2835"/>
                      </a:lnTo>
                      <a:lnTo>
                        <a:pt x="910" y="2865"/>
                      </a:lnTo>
                      <a:lnTo>
                        <a:pt x="978" y="2893"/>
                      </a:lnTo>
                      <a:lnTo>
                        <a:pt x="1048" y="2915"/>
                      </a:lnTo>
                      <a:lnTo>
                        <a:pt x="1118" y="2935"/>
                      </a:lnTo>
                      <a:lnTo>
                        <a:pt x="1190" y="2953"/>
                      </a:lnTo>
                      <a:lnTo>
                        <a:pt x="1264" y="2965"/>
                      </a:lnTo>
                      <a:lnTo>
                        <a:pt x="1338" y="2975"/>
                      </a:lnTo>
                      <a:lnTo>
                        <a:pt x="1414" y="2981"/>
                      </a:lnTo>
                      <a:lnTo>
                        <a:pt x="1492" y="2983"/>
                      </a:lnTo>
                      <a:lnTo>
                        <a:pt x="1492" y="2983"/>
                      </a:lnTo>
                      <a:lnTo>
                        <a:pt x="1568" y="2981"/>
                      </a:lnTo>
                      <a:lnTo>
                        <a:pt x="1644" y="2975"/>
                      </a:lnTo>
                      <a:lnTo>
                        <a:pt x="1718" y="2965"/>
                      </a:lnTo>
                      <a:lnTo>
                        <a:pt x="1792" y="2953"/>
                      </a:lnTo>
                      <a:lnTo>
                        <a:pt x="1864" y="2935"/>
                      </a:lnTo>
                      <a:lnTo>
                        <a:pt x="1934" y="2915"/>
                      </a:lnTo>
                      <a:lnTo>
                        <a:pt x="2004" y="2893"/>
                      </a:lnTo>
                      <a:lnTo>
                        <a:pt x="2072" y="2865"/>
                      </a:lnTo>
                      <a:lnTo>
                        <a:pt x="2138" y="2835"/>
                      </a:lnTo>
                      <a:lnTo>
                        <a:pt x="2202" y="2803"/>
                      </a:lnTo>
                      <a:lnTo>
                        <a:pt x="2264" y="2767"/>
                      </a:lnTo>
                      <a:lnTo>
                        <a:pt x="2324" y="2727"/>
                      </a:lnTo>
                      <a:lnTo>
                        <a:pt x="2384" y="2687"/>
                      </a:lnTo>
                      <a:lnTo>
                        <a:pt x="2440" y="2641"/>
                      </a:lnTo>
                      <a:lnTo>
                        <a:pt x="2494" y="2595"/>
                      </a:lnTo>
                      <a:lnTo>
                        <a:pt x="2546" y="2545"/>
                      </a:lnTo>
                      <a:lnTo>
                        <a:pt x="2596" y="2493"/>
                      </a:lnTo>
                      <a:lnTo>
                        <a:pt x="2642" y="2439"/>
                      </a:lnTo>
                      <a:lnTo>
                        <a:pt x="2686" y="2383"/>
                      </a:lnTo>
                      <a:lnTo>
                        <a:pt x="2728" y="2325"/>
                      </a:lnTo>
                      <a:lnTo>
                        <a:pt x="2766" y="2263"/>
                      </a:lnTo>
                      <a:lnTo>
                        <a:pt x="2802" y="2201"/>
                      </a:lnTo>
                      <a:lnTo>
                        <a:pt x="2836" y="2137"/>
                      </a:lnTo>
                      <a:lnTo>
                        <a:pt x="2866" y="2071"/>
                      </a:lnTo>
                      <a:lnTo>
                        <a:pt x="2892" y="2003"/>
                      </a:lnTo>
                      <a:lnTo>
                        <a:pt x="2916" y="1933"/>
                      </a:lnTo>
                      <a:lnTo>
                        <a:pt x="2936" y="1863"/>
                      </a:lnTo>
                      <a:lnTo>
                        <a:pt x="2952" y="1791"/>
                      </a:lnTo>
                      <a:lnTo>
                        <a:pt x="2966" y="1717"/>
                      </a:lnTo>
                      <a:lnTo>
                        <a:pt x="2976" y="1643"/>
                      </a:lnTo>
                      <a:lnTo>
                        <a:pt x="2982" y="1567"/>
                      </a:lnTo>
                      <a:lnTo>
                        <a:pt x="2984" y="1492"/>
                      </a:lnTo>
                      <a:lnTo>
                        <a:pt x="2984" y="1492"/>
                      </a:lnTo>
                      <a:lnTo>
                        <a:pt x="2982" y="1416"/>
                      </a:lnTo>
                      <a:lnTo>
                        <a:pt x="2976" y="1340"/>
                      </a:lnTo>
                      <a:lnTo>
                        <a:pt x="2966" y="1264"/>
                      </a:lnTo>
                      <a:lnTo>
                        <a:pt x="2952" y="1192"/>
                      </a:lnTo>
                      <a:lnTo>
                        <a:pt x="2936" y="1120"/>
                      </a:lnTo>
                      <a:lnTo>
                        <a:pt x="2916" y="1048"/>
                      </a:lnTo>
                      <a:lnTo>
                        <a:pt x="2892" y="980"/>
                      </a:lnTo>
                      <a:lnTo>
                        <a:pt x="2866" y="912"/>
                      </a:lnTo>
                      <a:lnTo>
                        <a:pt x="2836" y="846"/>
                      </a:lnTo>
                      <a:lnTo>
                        <a:pt x="2802" y="782"/>
                      </a:lnTo>
                      <a:lnTo>
                        <a:pt x="2766" y="718"/>
                      </a:lnTo>
                      <a:lnTo>
                        <a:pt x="2728" y="658"/>
                      </a:lnTo>
                      <a:lnTo>
                        <a:pt x="2686" y="600"/>
                      </a:lnTo>
                      <a:lnTo>
                        <a:pt x="2642" y="544"/>
                      </a:lnTo>
                      <a:lnTo>
                        <a:pt x="2596" y="490"/>
                      </a:lnTo>
                      <a:lnTo>
                        <a:pt x="2546" y="438"/>
                      </a:lnTo>
                      <a:lnTo>
                        <a:pt x="2494" y="388"/>
                      </a:lnTo>
                      <a:lnTo>
                        <a:pt x="2440" y="340"/>
                      </a:lnTo>
                      <a:lnTo>
                        <a:pt x="2384" y="296"/>
                      </a:lnTo>
                      <a:lnTo>
                        <a:pt x="2324" y="254"/>
                      </a:lnTo>
                      <a:lnTo>
                        <a:pt x="2264" y="216"/>
                      </a:lnTo>
                      <a:lnTo>
                        <a:pt x="2202" y="180"/>
                      </a:lnTo>
                      <a:lnTo>
                        <a:pt x="2138" y="148"/>
                      </a:lnTo>
                      <a:lnTo>
                        <a:pt x="2072" y="118"/>
                      </a:lnTo>
                      <a:lnTo>
                        <a:pt x="2004" y="90"/>
                      </a:lnTo>
                      <a:lnTo>
                        <a:pt x="1934" y="66"/>
                      </a:lnTo>
                      <a:lnTo>
                        <a:pt x="1864" y="46"/>
                      </a:lnTo>
                      <a:lnTo>
                        <a:pt x="1792" y="30"/>
                      </a:lnTo>
                      <a:lnTo>
                        <a:pt x="1718" y="16"/>
                      </a:lnTo>
                      <a:lnTo>
                        <a:pt x="1644" y="8"/>
                      </a:lnTo>
                      <a:lnTo>
                        <a:pt x="1568" y="2"/>
                      </a:lnTo>
                      <a:lnTo>
                        <a:pt x="1492" y="0"/>
                      </a:lnTo>
                      <a:lnTo>
                        <a:pt x="1492" y="0"/>
                      </a:lnTo>
                      <a:close/>
                      <a:moveTo>
                        <a:pt x="2688" y="1348"/>
                      </a:moveTo>
                      <a:lnTo>
                        <a:pt x="1634" y="1348"/>
                      </a:lnTo>
                      <a:lnTo>
                        <a:pt x="1634" y="294"/>
                      </a:lnTo>
                      <a:lnTo>
                        <a:pt x="1634" y="294"/>
                      </a:lnTo>
                      <a:lnTo>
                        <a:pt x="1686" y="302"/>
                      </a:lnTo>
                      <a:lnTo>
                        <a:pt x="1736" y="312"/>
                      </a:lnTo>
                      <a:lnTo>
                        <a:pt x="1786" y="322"/>
                      </a:lnTo>
                      <a:lnTo>
                        <a:pt x="1834" y="336"/>
                      </a:lnTo>
                      <a:lnTo>
                        <a:pt x="1884" y="352"/>
                      </a:lnTo>
                      <a:lnTo>
                        <a:pt x="1930" y="368"/>
                      </a:lnTo>
                      <a:lnTo>
                        <a:pt x="1976" y="388"/>
                      </a:lnTo>
                      <a:lnTo>
                        <a:pt x="2022" y="410"/>
                      </a:lnTo>
                      <a:lnTo>
                        <a:pt x="2066" y="432"/>
                      </a:lnTo>
                      <a:lnTo>
                        <a:pt x="2110" y="456"/>
                      </a:lnTo>
                      <a:lnTo>
                        <a:pt x="2152" y="484"/>
                      </a:lnTo>
                      <a:lnTo>
                        <a:pt x="2192" y="512"/>
                      </a:lnTo>
                      <a:lnTo>
                        <a:pt x="2232" y="542"/>
                      </a:lnTo>
                      <a:lnTo>
                        <a:pt x="2270" y="572"/>
                      </a:lnTo>
                      <a:lnTo>
                        <a:pt x="2308" y="606"/>
                      </a:lnTo>
                      <a:lnTo>
                        <a:pt x="2344" y="640"/>
                      </a:lnTo>
                      <a:lnTo>
                        <a:pt x="2378" y="676"/>
                      </a:lnTo>
                      <a:lnTo>
                        <a:pt x="2410" y="712"/>
                      </a:lnTo>
                      <a:lnTo>
                        <a:pt x="2442" y="750"/>
                      </a:lnTo>
                      <a:lnTo>
                        <a:pt x="2472" y="790"/>
                      </a:lnTo>
                      <a:lnTo>
                        <a:pt x="2500" y="832"/>
                      </a:lnTo>
                      <a:lnTo>
                        <a:pt x="2526" y="874"/>
                      </a:lnTo>
                      <a:lnTo>
                        <a:pt x="2550" y="916"/>
                      </a:lnTo>
                      <a:lnTo>
                        <a:pt x="2574" y="960"/>
                      </a:lnTo>
                      <a:lnTo>
                        <a:pt x="2594" y="1006"/>
                      </a:lnTo>
                      <a:lnTo>
                        <a:pt x="2614" y="1052"/>
                      </a:lnTo>
                      <a:lnTo>
                        <a:pt x="2632" y="1100"/>
                      </a:lnTo>
                      <a:lnTo>
                        <a:pt x="2648" y="1148"/>
                      </a:lnTo>
                      <a:lnTo>
                        <a:pt x="2660" y="1198"/>
                      </a:lnTo>
                      <a:lnTo>
                        <a:pt x="2672" y="1248"/>
                      </a:lnTo>
                      <a:lnTo>
                        <a:pt x="2682" y="1298"/>
                      </a:lnTo>
                      <a:lnTo>
                        <a:pt x="2688" y="1348"/>
                      </a:lnTo>
                      <a:lnTo>
                        <a:pt x="2688" y="1348"/>
                      </a:lnTo>
                      <a:close/>
                      <a:moveTo>
                        <a:pt x="1348" y="294"/>
                      </a:moveTo>
                      <a:lnTo>
                        <a:pt x="1348" y="1348"/>
                      </a:lnTo>
                      <a:lnTo>
                        <a:pt x="294" y="1348"/>
                      </a:lnTo>
                      <a:lnTo>
                        <a:pt x="294" y="1348"/>
                      </a:lnTo>
                      <a:lnTo>
                        <a:pt x="302" y="1298"/>
                      </a:lnTo>
                      <a:lnTo>
                        <a:pt x="310" y="1248"/>
                      </a:lnTo>
                      <a:lnTo>
                        <a:pt x="322" y="1198"/>
                      </a:lnTo>
                      <a:lnTo>
                        <a:pt x="336" y="1148"/>
                      </a:lnTo>
                      <a:lnTo>
                        <a:pt x="350" y="1100"/>
                      </a:lnTo>
                      <a:lnTo>
                        <a:pt x="368" y="1052"/>
                      </a:lnTo>
                      <a:lnTo>
                        <a:pt x="388" y="1006"/>
                      </a:lnTo>
                      <a:lnTo>
                        <a:pt x="408" y="960"/>
                      </a:lnTo>
                      <a:lnTo>
                        <a:pt x="432" y="916"/>
                      </a:lnTo>
                      <a:lnTo>
                        <a:pt x="456" y="874"/>
                      </a:lnTo>
                      <a:lnTo>
                        <a:pt x="482" y="832"/>
                      </a:lnTo>
                      <a:lnTo>
                        <a:pt x="510" y="790"/>
                      </a:lnTo>
                      <a:lnTo>
                        <a:pt x="540" y="750"/>
                      </a:lnTo>
                      <a:lnTo>
                        <a:pt x="572" y="712"/>
                      </a:lnTo>
                      <a:lnTo>
                        <a:pt x="604" y="676"/>
                      </a:lnTo>
                      <a:lnTo>
                        <a:pt x="638" y="640"/>
                      </a:lnTo>
                      <a:lnTo>
                        <a:pt x="674" y="606"/>
                      </a:lnTo>
                      <a:lnTo>
                        <a:pt x="712" y="572"/>
                      </a:lnTo>
                      <a:lnTo>
                        <a:pt x="750" y="542"/>
                      </a:lnTo>
                      <a:lnTo>
                        <a:pt x="790" y="512"/>
                      </a:lnTo>
                      <a:lnTo>
                        <a:pt x="830" y="484"/>
                      </a:lnTo>
                      <a:lnTo>
                        <a:pt x="872" y="456"/>
                      </a:lnTo>
                      <a:lnTo>
                        <a:pt x="916" y="432"/>
                      </a:lnTo>
                      <a:lnTo>
                        <a:pt x="960" y="410"/>
                      </a:lnTo>
                      <a:lnTo>
                        <a:pt x="1006" y="388"/>
                      </a:lnTo>
                      <a:lnTo>
                        <a:pt x="1052" y="368"/>
                      </a:lnTo>
                      <a:lnTo>
                        <a:pt x="1100" y="352"/>
                      </a:lnTo>
                      <a:lnTo>
                        <a:pt x="1148" y="336"/>
                      </a:lnTo>
                      <a:lnTo>
                        <a:pt x="1196" y="322"/>
                      </a:lnTo>
                      <a:lnTo>
                        <a:pt x="1246" y="312"/>
                      </a:lnTo>
                      <a:lnTo>
                        <a:pt x="1298" y="302"/>
                      </a:lnTo>
                      <a:lnTo>
                        <a:pt x="1348" y="294"/>
                      </a:lnTo>
                      <a:lnTo>
                        <a:pt x="1348" y="294"/>
                      </a:lnTo>
                      <a:close/>
                      <a:moveTo>
                        <a:pt x="294" y="1633"/>
                      </a:moveTo>
                      <a:lnTo>
                        <a:pt x="1348" y="1633"/>
                      </a:lnTo>
                      <a:lnTo>
                        <a:pt x="1348" y="2689"/>
                      </a:lnTo>
                      <a:lnTo>
                        <a:pt x="1348" y="2689"/>
                      </a:lnTo>
                      <a:lnTo>
                        <a:pt x="1298" y="2681"/>
                      </a:lnTo>
                      <a:lnTo>
                        <a:pt x="1246" y="2671"/>
                      </a:lnTo>
                      <a:lnTo>
                        <a:pt x="1196" y="2661"/>
                      </a:lnTo>
                      <a:lnTo>
                        <a:pt x="1148" y="2647"/>
                      </a:lnTo>
                      <a:lnTo>
                        <a:pt x="1100" y="2631"/>
                      </a:lnTo>
                      <a:lnTo>
                        <a:pt x="1052" y="2613"/>
                      </a:lnTo>
                      <a:lnTo>
                        <a:pt x="1006" y="2595"/>
                      </a:lnTo>
                      <a:lnTo>
                        <a:pt x="960" y="2573"/>
                      </a:lnTo>
                      <a:lnTo>
                        <a:pt x="916" y="2551"/>
                      </a:lnTo>
                      <a:lnTo>
                        <a:pt x="872" y="2525"/>
                      </a:lnTo>
                      <a:lnTo>
                        <a:pt x="830" y="2499"/>
                      </a:lnTo>
                      <a:lnTo>
                        <a:pt x="790" y="2471"/>
                      </a:lnTo>
                      <a:lnTo>
                        <a:pt x="750" y="2441"/>
                      </a:lnTo>
                      <a:lnTo>
                        <a:pt x="712" y="2411"/>
                      </a:lnTo>
                      <a:lnTo>
                        <a:pt x="674" y="2377"/>
                      </a:lnTo>
                      <a:lnTo>
                        <a:pt x="638" y="2343"/>
                      </a:lnTo>
                      <a:lnTo>
                        <a:pt x="604" y="2307"/>
                      </a:lnTo>
                      <a:lnTo>
                        <a:pt x="572" y="2271"/>
                      </a:lnTo>
                      <a:lnTo>
                        <a:pt x="540" y="2231"/>
                      </a:lnTo>
                      <a:lnTo>
                        <a:pt x="510" y="2193"/>
                      </a:lnTo>
                      <a:lnTo>
                        <a:pt x="482" y="2151"/>
                      </a:lnTo>
                      <a:lnTo>
                        <a:pt x="456" y="2109"/>
                      </a:lnTo>
                      <a:lnTo>
                        <a:pt x="432" y="2065"/>
                      </a:lnTo>
                      <a:lnTo>
                        <a:pt x="408" y="2021"/>
                      </a:lnTo>
                      <a:lnTo>
                        <a:pt x="388" y="1977"/>
                      </a:lnTo>
                      <a:lnTo>
                        <a:pt x="368" y="1929"/>
                      </a:lnTo>
                      <a:lnTo>
                        <a:pt x="350" y="1883"/>
                      </a:lnTo>
                      <a:lnTo>
                        <a:pt x="336" y="1835"/>
                      </a:lnTo>
                      <a:lnTo>
                        <a:pt x="322" y="1785"/>
                      </a:lnTo>
                      <a:lnTo>
                        <a:pt x="310" y="1735"/>
                      </a:lnTo>
                      <a:lnTo>
                        <a:pt x="302" y="1685"/>
                      </a:lnTo>
                      <a:lnTo>
                        <a:pt x="294" y="1633"/>
                      </a:lnTo>
                      <a:lnTo>
                        <a:pt x="294" y="1633"/>
                      </a:lnTo>
                      <a:close/>
                      <a:moveTo>
                        <a:pt x="1634" y="2689"/>
                      </a:moveTo>
                      <a:lnTo>
                        <a:pt x="1634" y="1633"/>
                      </a:lnTo>
                      <a:lnTo>
                        <a:pt x="2688" y="1633"/>
                      </a:lnTo>
                      <a:lnTo>
                        <a:pt x="2688" y="1633"/>
                      </a:lnTo>
                      <a:lnTo>
                        <a:pt x="2682" y="1685"/>
                      </a:lnTo>
                      <a:lnTo>
                        <a:pt x="2672" y="1735"/>
                      </a:lnTo>
                      <a:lnTo>
                        <a:pt x="2660" y="1785"/>
                      </a:lnTo>
                      <a:lnTo>
                        <a:pt x="2648" y="1835"/>
                      </a:lnTo>
                      <a:lnTo>
                        <a:pt x="2632" y="1883"/>
                      </a:lnTo>
                      <a:lnTo>
                        <a:pt x="2614" y="1929"/>
                      </a:lnTo>
                      <a:lnTo>
                        <a:pt x="2594" y="1977"/>
                      </a:lnTo>
                      <a:lnTo>
                        <a:pt x="2574" y="2021"/>
                      </a:lnTo>
                      <a:lnTo>
                        <a:pt x="2550" y="2065"/>
                      </a:lnTo>
                      <a:lnTo>
                        <a:pt x="2526" y="2109"/>
                      </a:lnTo>
                      <a:lnTo>
                        <a:pt x="2500" y="2151"/>
                      </a:lnTo>
                      <a:lnTo>
                        <a:pt x="2472" y="2193"/>
                      </a:lnTo>
                      <a:lnTo>
                        <a:pt x="2442" y="2231"/>
                      </a:lnTo>
                      <a:lnTo>
                        <a:pt x="2410" y="2271"/>
                      </a:lnTo>
                      <a:lnTo>
                        <a:pt x="2378" y="2307"/>
                      </a:lnTo>
                      <a:lnTo>
                        <a:pt x="2344" y="2343"/>
                      </a:lnTo>
                      <a:lnTo>
                        <a:pt x="2308" y="2377"/>
                      </a:lnTo>
                      <a:lnTo>
                        <a:pt x="2270" y="2411"/>
                      </a:lnTo>
                      <a:lnTo>
                        <a:pt x="2232" y="2441"/>
                      </a:lnTo>
                      <a:lnTo>
                        <a:pt x="2192" y="2471"/>
                      </a:lnTo>
                      <a:lnTo>
                        <a:pt x="2152" y="2499"/>
                      </a:lnTo>
                      <a:lnTo>
                        <a:pt x="2110" y="2525"/>
                      </a:lnTo>
                      <a:lnTo>
                        <a:pt x="2066" y="2551"/>
                      </a:lnTo>
                      <a:lnTo>
                        <a:pt x="2022" y="2573"/>
                      </a:lnTo>
                      <a:lnTo>
                        <a:pt x="1976" y="2595"/>
                      </a:lnTo>
                      <a:lnTo>
                        <a:pt x="1930" y="2613"/>
                      </a:lnTo>
                      <a:lnTo>
                        <a:pt x="1884" y="2631"/>
                      </a:lnTo>
                      <a:lnTo>
                        <a:pt x="1834" y="2647"/>
                      </a:lnTo>
                      <a:lnTo>
                        <a:pt x="1786" y="2661"/>
                      </a:lnTo>
                      <a:lnTo>
                        <a:pt x="1736" y="2671"/>
                      </a:lnTo>
                      <a:lnTo>
                        <a:pt x="1686" y="2681"/>
                      </a:lnTo>
                      <a:lnTo>
                        <a:pt x="1634" y="2689"/>
                      </a:lnTo>
                      <a:lnTo>
                        <a:pt x="1634" y="2689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78191" tIns="39096" rIns="78191" bIns="39096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sz="800"/>
                </a:p>
              </p:txBody>
            </p:sp>
          </p:grpSp>
          <p:sp>
            <p:nvSpPr>
              <p:cNvPr id="27" name="TextBox 26"/>
              <p:cNvSpPr txBox="1"/>
              <p:nvPr/>
            </p:nvSpPr>
            <p:spPr>
              <a:xfrm>
                <a:off x="10603140" y="884522"/>
                <a:ext cx="737381" cy="32579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lv-LV" b="1" dirty="0">
                    <a:solidFill>
                      <a:schemeClr val="accent5"/>
                    </a:solidFill>
                  </a:rPr>
                  <a:t>REDZ</a:t>
                </a:r>
              </a:p>
            </p:txBody>
          </p:sp>
          <p:cxnSp>
            <p:nvCxnSpPr>
              <p:cNvPr id="28" name="Straight Connector 27"/>
              <p:cNvCxnSpPr>
                <a:endCxn id="31" idx="1"/>
              </p:cNvCxnSpPr>
              <p:nvPr/>
            </p:nvCxnSpPr>
            <p:spPr>
              <a:xfrm flipH="1">
                <a:off x="7351694" y="3448050"/>
                <a:ext cx="4984145" cy="0"/>
              </a:xfrm>
              <a:prstGeom prst="line">
                <a:avLst/>
              </a:prstGeom>
              <a:ln w="12700" cap="sq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cxnSp>
            <p:nvCxnSpPr>
              <p:cNvPr id="29" name="Straight Connector 28"/>
              <p:cNvCxnSpPr/>
              <p:nvPr/>
            </p:nvCxnSpPr>
            <p:spPr>
              <a:xfrm flipH="1">
                <a:off x="8227536" y="597498"/>
                <a:ext cx="3859146" cy="0"/>
              </a:xfrm>
              <a:prstGeom prst="line">
                <a:avLst/>
              </a:prstGeom>
              <a:ln w="12700" cap="sq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cxnSp>
            <p:nvCxnSpPr>
              <p:cNvPr id="30" name="Straight Connector 29"/>
              <p:cNvCxnSpPr>
                <a:stCxn id="3" idx="16"/>
              </p:cNvCxnSpPr>
              <p:nvPr/>
            </p:nvCxnSpPr>
            <p:spPr>
              <a:xfrm flipV="1">
                <a:off x="7121717" y="600075"/>
                <a:ext cx="1105819" cy="3390401"/>
              </a:xfrm>
              <a:prstGeom prst="line">
                <a:avLst/>
              </a:prstGeom>
              <a:ln w="12700" cap="sq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sp>
            <p:nvSpPr>
              <p:cNvPr id="31" name="Rectangle 30"/>
              <p:cNvSpPr/>
              <p:nvPr/>
            </p:nvSpPr>
            <p:spPr>
              <a:xfrm flipH="1">
                <a:off x="7251212" y="3397809"/>
                <a:ext cx="100482" cy="100482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GB" sz="1600"/>
              </a:p>
            </p:txBody>
          </p:sp>
          <p:cxnSp>
            <p:nvCxnSpPr>
              <p:cNvPr id="32" name="Straight Connector 31"/>
              <p:cNvCxnSpPr/>
              <p:nvPr/>
            </p:nvCxnSpPr>
            <p:spPr>
              <a:xfrm>
                <a:off x="12335839" y="597498"/>
                <a:ext cx="0" cy="2844000"/>
              </a:xfrm>
              <a:prstGeom prst="line">
                <a:avLst/>
              </a:prstGeom>
              <a:ln w="12700" cap="sq">
                <a:solidFill>
                  <a:schemeClr val="accent5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</p:grpSp>
        <p:grpSp>
          <p:nvGrpSpPr>
            <p:cNvPr id="6" name="Group 5"/>
            <p:cNvGrpSpPr/>
            <p:nvPr/>
          </p:nvGrpSpPr>
          <p:grpSpPr>
            <a:xfrm>
              <a:off x="7121717" y="5432309"/>
              <a:ext cx="5241886" cy="3215971"/>
              <a:chOff x="7121717" y="5432309"/>
              <a:chExt cx="5241886" cy="3215971"/>
            </a:xfrm>
          </p:grpSpPr>
          <p:sp>
            <p:nvSpPr>
              <p:cNvPr id="19" name="TextBox 18"/>
              <p:cNvSpPr txBox="1"/>
              <p:nvPr/>
            </p:nvSpPr>
            <p:spPr>
              <a:xfrm>
                <a:off x="9454235" y="6071456"/>
                <a:ext cx="1886286" cy="325795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lv-LV" b="1" dirty="0">
                    <a:solidFill>
                      <a:schemeClr val="accent4"/>
                    </a:solidFill>
                  </a:rPr>
                  <a:t>SAKA &amp; DARA</a:t>
                </a:r>
              </a:p>
            </p:txBody>
          </p:sp>
          <p:cxnSp>
            <p:nvCxnSpPr>
              <p:cNvPr id="20" name="Straight Connector 19"/>
              <p:cNvCxnSpPr/>
              <p:nvPr/>
            </p:nvCxnSpPr>
            <p:spPr>
              <a:xfrm flipH="1" flipV="1">
                <a:off x="7292195" y="5789333"/>
                <a:ext cx="5043644" cy="0"/>
              </a:xfrm>
              <a:prstGeom prst="line">
                <a:avLst/>
              </a:prstGeom>
              <a:ln w="12700" cap="sq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cxnSp>
            <p:nvCxnSpPr>
              <p:cNvPr id="21" name="Straight Connector 20"/>
              <p:cNvCxnSpPr/>
              <p:nvPr/>
            </p:nvCxnSpPr>
            <p:spPr>
              <a:xfrm flipH="1">
                <a:off x="8266493" y="8643412"/>
                <a:ext cx="4069346" cy="0"/>
              </a:xfrm>
              <a:prstGeom prst="line">
                <a:avLst/>
              </a:prstGeom>
              <a:ln w="12700" cap="sq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cxnSp>
            <p:nvCxnSpPr>
              <p:cNvPr id="22" name="Straight Connector 21"/>
              <p:cNvCxnSpPr>
                <a:stCxn id="3" idx="15"/>
              </p:cNvCxnSpPr>
              <p:nvPr/>
            </p:nvCxnSpPr>
            <p:spPr>
              <a:xfrm>
                <a:off x="7121717" y="5432309"/>
                <a:ext cx="1135755" cy="3211102"/>
              </a:xfrm>
              <a:prstGeom prst="line">
                <a:avLst/>
              </a:prstGeom>
              <a:ln w="12700" cap="sq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sp>
            <p:nvSpPr>
              <p:cNvPr id="23" name="Rectangle 22"/>
              <p:cNvSpPr/>
              <p:nvPr/>
            </p:nvSpPr>
            <p:spPr>
              <a:xfrm flipH="1" flipV="1">
                <a:off x="7209032" y="5742619"/>
                <a:ext cx="100482" cy="100482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GB" sz="1600"/>
              </a:p>
            </p:txBody>
          </p:sp>
          <p:cxnSp>
            <p:nvCxnSpPr>
              <p:cNvPr id="24" name="Straight Connector 23"/>
              <p:cNvCxnSpPr/>
              <p:nvPr/>
            </p:nvCxnSpPr>
            <p:spPr>
              <a:xfrm flipH="1" flipV="1">
                <a:off x="12340729" y="5794201"/>
                <a:ext cx="0" cy="2854079"/>
              </a:xfrm>
              <a:prstGeom prst="line">
                <a:avLst/>
              </a:prstGeom>
              <a:ln w="12700" cap="sq">
                <a:solidFill>
                  <a:schemeClr val="accent4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sp>
            <p:nvSpPr>
              <p:cNvPr id="25" name="Freeform 26"/>
              <p:cNvSpPr>
                <a:spLocks noChangeAspect="1" noEditPoints="1"/>
              </p:cNvSpPr>
              <p:nvPr/>
            </p:nvSpPr>
            <p:spPr bwMode="auto">
              <a:xfrm>
                <a:off x="11571603" y="5789333"/>
                <a:ext cx="792000" cy="890040"/>
              </a:xfrm>
              <a:custGeom>
                <a:avLst/>
                <a:gdLst>
                  <a:gd name="T0" fmla="*/ 0 w 396"/>
                  <a:gd name="T1" fmla="*/ 0 h 440"/>
                  <a:gd name="T2" fmla="*/ 0 w 396"/>
                  <a:gd name="T3" fmla="*/ 315 h 440"/>
                  <a:gd name="T4" fmla="*/ 198 w 396"/>
                  <a:gd name="T5" fmla="*/ 440 h 440"/>
                  <a:gd name="T6" fmla="*/ 396 w 396"/>
                  <a:gd name="T7" fmla="*/ 315 h 440"/>
                  <a:gd name="T8" fmla="*/ 396 w 396"/>
                  <a:gd name="T9" fmla="*/ 0 h 440"/>
                  <a:gd name="T10" fmla="*/ 0 w 396"/>
                  <a:gd name="T11" fmla="*/ 0 h 440"/>
                  <a:gd name="T12" fmla="*/ 379 w 396"/>
                  <a:gd name="T13" fmla="*/ 306 h 440"/>
                  <a:gd name="T14" fmla="*/ 198 w 396"/>
                  <a:gd name="T15" fmla="*/ 419 h 440"/>
                  <a:gd name="T16" fmla="*/ 17 w 396"/>
                  <a:gd name="T17" fmla="*/ 306 h 440"/>
                  <a:gd name="T18" fmla="*/ 17 w 396"/>
                  <a:gd name="T19" fmla="*/ 18 h 440"/>
                  <a:gd name="T20" fmla="*/ 379 w 396"/>
                  <a:gd name="T21" fmla="*/ 18 h 440"/>
                  <a:gd name="T22" fmla="*/ 379 w 396"/>
                  <a:gd name="T23" fmla="*/ 306 h 440"/>
                  <a:gd name="T24" fmla="*/ 327 w 396"/>
                  <a:gd name="T25" fmla="*/ 280 h 440"/>
                  <a:gd name="T26" fmla="*/ 327 w 396"/>
                  <a:gd name="T27" fmla="*/ 59 h 440"/>
                  <a:gd name="T28" fmla="*/ 64 w 396"/>
                  <a:gd name="T29" fmla="*/ 59 h 440"/>
                  <a:gd name="T30" fmla="*/ 64 w 396"/>
                  <a:gd name="T31" fmla="*/ 280 h 440"/>
                  <a:gd name="T32" fmla="*/ 198 w 396"/>
                  <a:gd name="T33" fmla="*/ 359 h 440"/>
                  <a:gd name="T34" fmla="*/ 327 w 396"/>
                  <a:gd name="T35" fmla="*/ 280 h 440"/>
                  <a:gd name="T36" fmla="*/ 80 w 396"/>
                  <a:gd name="T37" fmla="*/ 270 h 440"/>
                  <a:gd name="T38" fmla="*/ 80 w 396"/>
                  <a:gd name="T39" fmla="*/ 75 h 440"/>
                  <a:gd name="T40" fmla="*/ 311 w 396"/>
                  <a:gd name="T41" fmla="*/ 75 h 440"/>
                  <a:gd name="T42" fmla="*/ 311 w 396"/>
                  <a:gd name="T43" fmla="*/ 270 h 440"/>
                  <a:gd name="T44" fmla="*/ 198 w 396"/>
                  <a:gd name="T45" fmla="*/ 339 h 440"/>
                  <a:gd name="T46" fmla="*/ 80 w 396"/>
                  <a:gd name="T47" fmla="*/ 270 h 440"/>
                  <a:gd name="T48" fmla="*/ 252 w 396"/>
                  <a:gd name="T49" fmla="*/ 149 h 440"/>
                  <a:gd name="T50" fmla="*/ 264 w 396"/>
                  <a:gd name="T51" fmla="*/ 161 h 440"/>
                  <a:gd name="T52" fmla="*/ 188 w 396"/>
                  <a:gd name="T53" fmla="*/ 245 h 440"/>
                  <a:gd name="T54" fmla="*/ 143 w 396"/>
                  <a:gd name="T55" fmla="*/ 203 h 440"/>
                  <a:gd name="T56" fmla="*/ 155 w 396"/>
                  <a:gd name="T57" fmla="*/ 190 h 440"/>
                  <a:gd name="T58" fmla="*/ 187 w 396"/>
                  <a:gd name="T59" fmla="*/ 221 h 440"/>
                  <a:gd name="T60" fmla="*/ 252 w 396"/>
                  <a:gd name="T61" fmla="*/ 149 h 4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96" h="440">
                    <a:moveTo>
                      <a:pt x="0" y="0"/>
                    </a:moveTo>
                    <a:lnTo>
                      <a:pt x="0" y="315"/>
                    </a:lnTo>
                    <a:lnTo>
                      <a:pt x="198" y="440"/>
                    </a:lnTo>
                    <a:lnTo>
                      <a:pt x="396" y="315"/>
                    </a:lnTo>
                    <a:lnTo>
                      <a:pt x="396" y="0"/>
                    </a:lnTo>
                    <a:lnTo>
                      <a:pt x="0" y="0"/>
                    </a:lnTo>
                    <a:close/>
                    <a:moveTo>
                      <a:pt x="379" y="306"/>
                    </a:moveTo>
                    <a:lnTo>
                      <a:pt x="198" y="419"/>
                    </a:lnTo>
                    <a:lnTo>
                      <a:pt x="17" y="306"/>
                    </a:lnTo>
                    <a:lnTo>
                      <a:pt x="17" y="18"/>
                    </a:lnTo>
                    <a:lnTo>
                      <a:pt x="379" y="18"/>
                    </a:lnTo>
                    <a:lnTo>
                      <a:pt x="379" y="306"/>
                    </a:lnTo>
                    <a:close/>
                    <a:moveTo>
                      <a:pt x="327" y="280"/>
                    </a:moveTo>
                    <a:lnTo>
                      <a:pt x="327" y="59"/>
                    </a:lnTo>
                    <a:lnTo>
                      <a:pt x="64" y="59"/>
                    </a:lnTo>
                    <a:lnTo>
                      <a:pt x="64" y="280"/>
                    </a:lnTo>
                    <a:lnTo>
                      <a:pt x="198" y="359"/>
                    </a:lnTo>
                    <a:lnTo>
                      <a:pt x="327" y="280"/>
                    </a:lnTo>
                    <a:close/>
                    <a:moveTo>
                      <a:pt x="80" y="270"/>
                    </a:moveTo>
                    <a:lnTo>
                      <a:pt x="80" y="75"/>
                    </a:lnTo>
                    <a:lnTo>
                      <a:pt x="311" y="75"/>
                    </a:lnTo>
                    <a:lnTo>
                      <a:pt x="311" y="270"/>
                    </a:lnTo>
                    <a:lnTo>
                      <a:pt x="198" y="339"/>
                    </a:lnTo>
                    <a:lnTo>
                      <a:pt x="80" y="270"/>
                    </a:lnTo>
                    <a:close/>
                    <a:moveTo>
                      <a:pt x="252" y="149"/>
                    </a:moveTo>
                    <a:lnTo>
                      <a:pt x="264" y="161"/>
                    </a:lnTo>
                    <a:lnTo>
                      <a:pt x="188" y="245"/>
                    </a:lnTo>
                    <a:lnTo>
                      <a:pt x="143" y="203"/>
                    </a:lnTo>
                    <a:lnTo>
                      <a:pt x="155" y="190"/>
                    </a:lnTo>
                    <a:lnTo>
                      <a:pt x="187" y="221"/>
                    </a:lnTo>
                    <a:lnTo>
                      <a:pt x="252" y="149"/>
                    </a:lnTo>
                    <a:close/>
                  </a:path>
                </a:pathLst>
              </a:custGeom>
              <a:solidFill>
                <a:schemeClr val="accent4"/>
              </a:solidFill>
              <a:ln>
                <a:noFill/>
              </a:ln>
              <a:extLst/>
            </p:spPr>
            <p:txBody>
              <a:bodyPr vert="horz" wrap="square" lIns="68580" tIns="34290" rIns="68580" bIns="3429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7" name="Group 6"/>
            <p:cNvGrpSpPr/>
            <p:nvPr/>
          </p:nvGrpSpPr>
          <p:grpSpPr>
            <a:xfrm>
              <a:off x="454178" y="5432309"/>
              <a:ext cx="5225706" cy="3215971"/>
              <a:chOff x="454178" y="5432309"/>
              <a:chExt cx="5225706" cy="3215971"/>
            </a:xfrm>
          </p:grpSpPr>
          <p:sp>
            <p:nvSpPr>
              <p:cNvPr id="8" name="TextBox 7"/>
              <p:cNvSpPr txBox="1"/>
              <p:nvPr/>
            </p:nvSpPr>
            <p:spPr>
              <a:xfrm>
                <a:off x="1504795" y="6137449"/>
                <a:ext cx="705321" cy="276999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lv-LV" b="1" dirty="0">
                    <a:solidFill>
                      <a:schemeClr val="bg1">
                        <a:lumMod val="65000"/>
                      </a:schemeClr>
                    </a:solidFill>
                  </a:rPr>
                  <a:t>DZIRD</a:t>
                </a:r>
              </a:p>
            </p:txBody>
          </p:sp>
          <p:cxnSp>
            <p:nvCxnSpPr>
              <p:cNvPr id="9" name="Straight Connector 8"/>
              <p:cNvCxnSpPr/>
              <p:nvPr/>
            </p:nvCxnSpPr>
            <p:spPr>
              <a:xfrm flipV="1">
                <a:off x="525083" y="5789333"/>
                <a:ext cx="4962372" cy="47746"/>
              </a:xfrm>
              <a:prstGeom prst="line">
                <a:avLst/>
              </a:prstGeom>
              <a:ln w="12700" cap="sq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cxnSp>
            <p:nvCxnSpPr>
              <p:cNvPr id="10" name="Straight Connector 9"/>
              <p:cNvCxnSpPr/>
              <p:nvPr/>
            </p:nvCxnSpPr>
            <p:spPr>
              <a:xfrm>
                <a:off x="457477" y="8638930"/>
                <a:ext cx="4150433" cy="0"/>
              </a:xfrm>
              <a:prstGeom prst="line">
                <a:avLst/>
              </a:prstGeom>
              <a:ln w="12700" cap="sq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cxnSp>
            <p:nvCxnSpPr>
              <p:cNvPr id="11" name="Straight Connector 10"/>
              <p:cNvCxnSpPr>
                <a:stCxn id="3" idx="1"/>
              </p:cNvCxnSpPr>
              <p:nvPr/>
            </p:nvCxnSpPr>
            <p:spPr>
              <a:xfrm flipH="1">
                <a:off x="4607910" y="5432309"/>
                <a:ext cx="1071974" cy="3206621"/>
              </a:xfrm>
              <a:prstGeom prst="line">
                <a:avLst/>
              </a:prstGeom>
              <a:ln w="12700" cap="sq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sp>
            <p:nvSpPr>
              <p:cNvPr id="12" name="Rectangle 11"/>
              <p:cNvSpPr/>
              <p:nvPr/>
            </p:nvSpPr>
            <p:spPr>
              <a:xfrm flipV="1">
                <a:off x="5487455" y="5742619"/>
                <a:ext cx="100482" cy="100482"/>
              </a:xfrm>
              <a:prstGeom prst="rect">
                <a:avLst/>
              </a:prstGeom>
              <a:solidFill>
                <a:schemeClr val="tx2"/>
              </a:solidFill>
              <a:ln>
                <a:noFill/>
              </a:ln>
            </p:spPr>
            <p:style>
              <a:lnRef idx="0">
                <a:schemeClr val="accent1"/>
              </a:lnRef>
              <a:fillRef idx="1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0000"/>
                  </a:lnSpc>
                </a:pPr>
                <a:endParaRPr lang="en-GB" sz="1600"/>
              </a:p>
            </p:txBody>
          </p:sp>
          <p:cxnSp>
            <p:nvCxnSpPr>
              <p:cNvPr id="13" name="Straight Connector 12"/>
              <p:cNvCxnSpPr/>
              <p:nvPr/>
            </p:nvCxnSpPr>
            <p:spPr>
              <a:xfrm flipV="1">
                <a:off x="457477" y="5844133"/>
                <a:ext cx="0" cy="2804147"/>
              </a:xfrm>
              <a:prstGeom prst="line">
                <a:avLst/>
              </a:prstGeom>
              <a:ln w="12700" cap="sq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grpSp>
            <p:nvGrpSpPr>
              <p:cNvPr id="14" name="Group 13"/>
              <p:cNvGrpSpPr/>
              <p:nvPr/>
            </p:nvGrpSpPr>
            <p:grpSpPr>
              <a:xfrm>
                <a:off x="454178" y="5825948"/>
                <a:ext cx="900000" cy="900000"/>
                <a:chOff x="7705725" y="2733675"/>
                <a:chExt cx="476250" cy="476250"/>
              </a:xfrm>
              <a:solidFill>
                <a:schemeClr val="bg1">
                  <a:lumMod val="65000"/>
                </a:schemeClr>
              </a:solidFill>
            </p:grpSpPr>
            <p:sp>
              <p:nvSpPr>
                <p:cNvPr id="15" name="Freeform 69"/>
                <p:cNvSpPr>
                  <a:spLocks noEditPoints="1"/>
                </p:cNvSpPr>
                <p:nvPr/>
              </p:nvSpPr>
              <p:spPr bwMode="auto">
                <a:xfrm>
                  <a:off x="7705725" y="2733675"/>
                  <a:ext cx="476250" cy="476250"/>
                </a:xfrm>
                <a:custGeom>
                  <a:avLst/>
                  <a:gdLst>
                    <a:gd name="T0" fmla="*/ 0 w 576"/>
                    <a:gd name="T1" fmla="*/ 0 h 576"/>
                    <a:gd name="T2" fmla="*/ 0 w 576"/>
                    <a:gd name="T3" fmla="*/ 576 h 576"/>
                    <a:gd name="T4" fmla="*/ 576 w 576"/>
                    <a:gd name="T5" fmla="*/ 576 h 576"/>
                    <a:gd name="T6" fmla="*/ 576 w 576"/>
                    <a:gd name="T7" fmla="*/ 0 h 576"/>
                    <a:gd name="T8" fmla="*/ 0 w 576"/>
                    <a:gd name="T9" fmla="*/ 0 h 576"/>
                    <a:gd name="T10" fmla="*/ 288 w 576"/>
                    <a:gd name="T11" fmla="*/ 455 h 576"/>
                    <a:gd name="T12" fmla="*/ 269 w 576"/>
                    <a:gd name="T13" fmla="*/ 436 h 576"/>
                    <a:gd name="T14" fmla="*/ 288 w 576"/>
                    <a:gd name="T15" fmla="*/ 417 h 576"/>
                    <a:gd name="T16" fmla="*/ 307 w 576"/>
                    <a:gd name="T17" fmla="*/ 436 h 576"/>
                    <a:gd name="T18" fmla="*/ 288 w 576"/>
                    <a:gd name="T19" fmla="*/ 455 h 576"/>
                    <a:gd name="T20" fmla="*/ 551 w 576"/>
                    <a:gd name="T21" fmla="*/ 551 h 576"/>
                    <a:gd name="T22" fmla="*/ 300 w 576"/>
                    <a:gd name="T23" fmla="*/ 551 h 576"/>
                    <a:gd name="T24" fmla="*/ 300 w 576"/>
                    <a:gd name="T25" fmla="*/ 478 h 576"/>
                    <a:gd name="T26" fmla="*/ 331 w 576"/>
                    <a:gd name="T27" fmla="*/ 436 h 576"/>
                    <a:gd name="T28" fmla="*/ 288 w 576"/>
                    <a:gd name="T29" fmla="*/ 393 h 576"/>
                    <a:gd name="T30" fmla="*/ 245 w 576"/>
                    <a:gd name="T31" fmla="*/ 436 h 576"/>
                    <a:gd name="T32" fmla="*/ 276 w 576"/>
                    <a:gd name="T33" fmla="*/ 478 h 576"/>
                    <a:gd name="T34" fmla="*/ 276 w 576"/>
                    <a:gd name="T35" fmla="*/ 551 h 576"/>
                    <a:gd name="T36" fmla="*/ 25 w 576"/>
                    <a:gd name="T37" fmla="*/ 551 h 576"/>
                    <a:gd name="T38" fmla="*/ 25 w 576"/>
                    <a:gd name="T39" fmla="*/ 25 h 576"/>
                    <a:gd name="T40" fmla="*/ 551 w 576"/>
                    <a:gd name="T41" fmla="*/ 25 h 576"/>
                    <a:gd name="T42" fmla="*/ 551 w 576"/>
                    <a:gd name="T43" fmla="*/ 551 h 5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576" h="576">
                      <a:moveTo>
                        <a:pt x="0" y="0"/>
                      </a:moveTo>
                      <a:cubicBezTo>
                        <a:pt x="0" y="576"/>
                        <a:pt x="0" y="576"/>
                        <a:pt x="0" y="576"/>
                      </a:cubicBezTo>
                      <a:cubicBezTo>
                        <a:pt x="576" y="576"/>
                        <a:pt x="576" y="576"/>
                        <a:pt x="576" y="576"/>
                      </a:cubicBezTo>
                      <a:cubicBezTo>
                        <a:pt x="576" y="0"/>
                        <a:pt x="576" y="0"/>
                        <a:pt x="576" y="0"/>
                      </a:cubicBezTo>
                      <a:lnTo>
                        <a:pt x="0" y="0"/>
                      </a:lnTo>
                      <a:close/>
                      <a:moveTo>
                        <a:pt x="288" y="455"/>
                      </a:moveTo>
                      <a:cubicBezTo>
                        <a:pt x="278" y="455"/>
                        <a:pt x="269" y="446"/>
                        <a:pt x="269" y="436"/>
                      </a:cubicBezTo>
                      <a:cubicBezTo>
                        <a:pt x="269" y="426"/>
                        <a:pt x="278" y="417"/>
                        <a:pt x="288" y="417"/>
                      </a:cubicBezTo>
                      <a:cubicBezTo>
                        <a:pt x="298" y="417"/>
                        <a:pt x="307" y="426"/>
                        <a:pt x="307" y="436"/>
                      </a:cubicBezTo>
                      <a:cubicBezTo>
                        <a:pt x="307" y="446"/>
                        <a:pt x="298" y="455"/>
                        <a:pt x="288" y="455"/>
                      </a:cubicBezTo>
                      <a:close/>
                      <a:moveTo>
                        <a:pt x="551" y="551"/>
                      </a:moveTo>
                      <a:cubicBezTo>
                        <a:pt x="300" y="551"/>
                        <a:pt x="300" y="551"/>
                        <a:pt x="300" y="551"/>
                      </a:cubicBezTo>
                      <a:cubicBezTo>
                        <a:pt x="300" y="478"/>
                        <a:pt x="300" y="478"/>
                        <a:pt x="300" y="478"/>
                      </a:cubicBezTo>
                      <a:cubicBezTo>
                        <a:pt x="318" y="472"/>
                        <a:pt x="331" y="456"/>
                        <a:pt x="331" y="436"/>
                      </a:cubicBezTo>
                      <a:cubicBezTo>
                        <a:pt x="331" y="412"/>
                        <a:pt x="312" y="393"/>
                        <a:pt x="288" y="393"/>
                      </a:cubicBezTo>
                      <a:cubicBezTo>
                        <a:pt x="264" y="393"/>
                        <a:pt x="245" y="412"/>
                        <a:pt x="245" y="436"/>
                      </a:cubicBezTo>
                      <a:cubicBezTo>
                        <a:pt x="245" y="456"/>
                        <a:pt x="258" y="472"/>
                        <a:pt x="276" y="478"/>
                      </a:cubicBezTo>
                      <a:cubicBezTo>
                        <a:pt x="276" y="551"/>
                        <a:pt x="276" y="551"/>
                        <a:pt x="276" y="551"/>
                      </a:cubicBezTo>
                      <a:cubicBezTo>
                        <a:pt x="25" y="551"/>
                        <a:pt x="25" y="551"/>
                        <a:pt x="25" y="551"/>
                      </a:cubicBezTo>
                      <a:cubicBezTo>
                        <a:pt x="25" y="25"/>
                        <a:pt x="25" y="25"/>
                        <a:pt x="25" y="25"/>
                      </a:cubicBezTo>
                      <a:cubicBezTo>
                        <a:pt x="551" y="25"/>
                        <a:pt x="551" y="25"/>
                        <a:pt x="551" y="25"/>
                      </a:cubicBezTo>
                      <a:lnTo>
                        <a:pt x="551" y="55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6" name="Freeform 70"/>
                <p:cNvSpPr>
                  <a:spLocks/>
                </p:cNvSpPr>
                <p:nvPr/>
              </p:nvSpPr>
              <p:spPr bwMode="auto">
                <a:xfrm>
                  <a:off x="7777163" y="2824163"/>
                  <a:ext cx="333375" cy="82550"/>
                </a:xfrm>
                <a:custGeom>
                  <a:avLst/>
                  <a:gdLst>
                    <a:gd name="T0" fmla="*/ 201 w 402"/>
                    <a:gd name="T1" fmla="*/ 24 h 100"/>
                    <a:gd name="T2" fmla="*/ 385 w 402"/>
                    <a:gd name="T3" fmla="*/ 100 h 100"/>
                    <a:gd name="T4" fmla="*/ 402 w 402"/>
                    <a:gd name="T5" fmla="*/ 83 h 100"/>
                    <a:gd name="T6" fmla="*/ 201 w 402"/>
                    <a:gd name="T7" fmla="*/ 0 h 100"/>
                    <a:gd name="T8" fmla="*/ 0 w 402"/>
                    <a:gd name="T9" fmla="*/ 83 h 100"/>
                    <a:gd name="T10" fmla="*/ 17 w 402"/>
                    <a:gd name="T11" fmla="*/ 100 h 100"/>
                    <a:gd name="T12" fmla="*/ 201 w 402"/>
                    <a:gd name="T13" fmla="*/ 24 h 1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02" h="100">
                      <a:moveTo>
                        <a:pt x="201" y="24"/>
                      </a:moveTo>
                      <a:cubicBezTo>
                        <a:pt x="270" y="24"/>
                        <a:pt x="336" y="51"/>
                        <a:pt x="385" y="100"/>
                      </a:cubicBezTo>
                      <a:cubicBezTo>
                        <a:pt x="402" y="83"/>
                        <a:pt x="402" y="83"/>
                        <a:pt x="402" y="83"/>
                      </a:cubicBezTo>
                      <a:cubicBezTo>
                        <a:pt x="348" y="29"/>
                        <a:pt x="277" y="0"/>
                        <a:pt x="201" y="0"/>
                      </a:cubicBezTo>
                      <a:cubicBezTo>
                        <a:pt x="125" y="0"/>
                        <a:pt x="54" y="29"/>
                        <a:pt x="0" y="83"/>
                      </a:cubicBezTo>
                      <a:cubicBezTo>
                        <a:pt x="17" y="100"/>
                        <a:pt x="17" y="100"/>
                        <a:pt x="17" y="100"/>
                      </a:cubicBezTo>
                      <a:cubicBezTo>
                        <a:pt x="66" y="51"/>
                        <a:pt x="132" y="24"/>
                        <a:pt x="201" y="24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7" name="Freeform 71"/>
                <p:cNvSpPr>
                  <a:spLocks/>
                </p:cNvSpPr>
                <p:nvPr/>
              </p:nvSpPr>
              <p:spPr bwMode="auto">
                <a:xfrm>
                  <a:off x="7835900" y="2889250"/>
                  <a:ext cx="215900" cy="74613"/>
                </a:xfrm>
                <a:custGeom>
                  <a:avLst/>
                  <a:gdLst>
                    <a:gd name="T0" fmla="*/ 0 w 262"/>
                    <a:gd name="T1" fmla="*/ 73 h 90"/>
                    <a:gd name="T2" fmla="*/ 17 w 262"/>
                    <a:gd name="T3" fmla="*/ 90 h 90"/>
                    <a:gd name="T4" fmla="*/ 245 w 262"/>
                    <a:gd name="T5" fmla="*/ 90 h 90"/>
                    <a:gd name="T6" fmla="*/ 262 w 262"/>
                    <a:gd name="T7" fmla="*/ 73 h 90"/>
                    <a:gd name="T8" fmla="*/ 0 w 262"/>
                    <a:gd name="T9" fmla="*/ 73 h 9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62" h="90">
                      <a:moveTo>
                        <a:pt x="0" y="73"/>
                      </a:moveTo>
                      <a:cubicBezTo>
                        <a:pt x="17" y="90"/>
                        <a:pt x="17" y="90"/>
                        <a:pt x="17" y="90"/>
                      </a:cubicBezTo>
                      <a:cubicBezTo>
                        <a:pt x="80" y="27"/>
                        <a:pt x="182" y="27"/>
                        <a:pt x="245" y="90"/>
                      </a:cubicBezTo>
                      <a:cubicBezTo>
                        <a:pt x="262" y="73"/>
                        <a:pt x="262" y="73"/>
                        <a:pt x="262" y="73"/>
                      </a:cubicBezTo>
                      <a:cubicBezTo>
                        <a:pt x="190" y="0"/>
                        <a:pt x="72" y="0"/>
                        <a:pt x="0" y="73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  <p:sp>
              <p:nvSpPr>
                <p:cNvPr id="18" name="Freeform 72"/>
                <p:cNvSpPr>
                  <a:spLocks/>
                </p:cNvSpPr>
                <p:nvPr/>
              </p:nvSpPr>
              <p:spPr bwMode="auto">
                <a:xfrm>
                  <a:off x="7891463" y="2984500"/>
                  <a:ext cx="104775" cy="36513"/>
                </a:xfrm>
                <a:custGeom>
                  <a:avLst/>
                  <a:gdLst>
                    <a:gd name="T0" fmla="*/ 0 w 126"/>
                    <a:gd name="T1" fmla="*/ 26 h 43"/>
                    <a:gd name="T2" fmla="*/ 17 w 126"/>
                    <a:gd name="T3" fmla="*/ 43 h 43"/>
                    <a:gd name="T4" fmla="*/ 63 w 126"/>
                    <a:gd name="T5" fmla="*/ 24 h 43"/>
                    <a:gd name="T6" fmla="*/ 109 w 126"/>
                    <a:gd name="T7" fmla="*/ 43 h 43"/>
                    <a:gd name="T8" fmla="*/ 126 w 126"/>
                    <a:gd name="T9" fmla="*/ 26 h 43"/>
                    <a:gd name="T10" fmla="*/ 63 w 126"/>
                    <a:gd name="T11" fmla="*/ 0 h 43"/>
                    <a:gd name="T12" fmla="*/ 0 w 126"/>
                    <a:gd name="T13" fmla="*/ 26 h 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6" h="43">
                      <a:moveTo>
                        <a:pt x="0" y="26"/>
                      </a:moveTo>
                      <a:cubicBezTo>
                        <a:pt x="17" y="43"/>
                        <a:pt x="17" y="43"/>
                        <a:pt x="17" y="43"/>
                      </a:cubicBezTo>
                      <a:cubicBezTo>
                        <a:pt x="29" y="31"/>
                        <a:pt x="46" y="24"/>
                        <a:pt x="63" y="24"/>
                      </a:cubicBezTo>
                      <a:cubicBezTo>
                        <a:pt x="80" y="24"/>
                        <a:pt x="97" y="31"/>
                        <a:pt x="109" y="43"/>
                      </a:cubicBezTo>
                      <a:cubicBezTo>
                        <a:pt x="126" y="26"/>
                        <a:pt x="126" y="26"/>
                        <a:pt x="126" y="26"/>
                      </a:cubicBezTo>
                      <a:cubicBezTo>
                        <a:pt x="109" y="9"/>
                        <a:pt x="87" y="0"/>
                        <a:pt x="63" y="0"/>
                      </a:cubicBezTo>
                      <a:cubicBezTo>
                        <a:pt x="39" y="0"/>
                        <a:pt x="17" y="9"/>
                        <a:pt x="0" y="26"/>
                      </a:cubicBez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295864114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39516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0" name="think-cell Slide" r:id="rId4" imgW="455" imgH="454" progId="TCLayout.ActiveDocument.1">
                  <p:embed/>
                </p:oleObj>
              </mc:Choice>
              <mc:Fallback>
                <p:oleObj name="think-cell Slide" r:id="rId4" imgW="455" imgH="454" progId="TCLayout.ActiveDocument.1">
                  <p:embed/>
                  <p:pic>
                    <p:nvPicPr>
                      <p:cNvPr id="59" name="Object 5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34" name="Group 133"/>
          <p:cNvGrpSpPr/>
          <p:nvPr/>
        </p:nvGrpSpPr>
        <p:grpSpPr>
          <a:xfrm>
            <a:off x="4431040" y="3019980"/>
            <a:ext cx="3939520" cy="3560403"/>
            <a:chOff x="4431040" y="2963280"/>
            <a:chExt cx="3939520" cy="3560403"/>
          </a:xfrm>
        </p:grpSpPr>
        <p:sp>
          <p:nvSpPr>
            <p:cNvPr id="55" name="Rectangle 54"/>
            <p:cNvSpPr/>
            <p:nvPr/>
          </p:nvSpPr>
          <p:spPr>
            <a:xfrm>
              <a:off x="4431040" y="2963280"/>
              <a:ext cx="3939520" cy="3560403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600"/>
            </a:p>
          </p:txBody>
        </p:sp>
        <p:sp>
          <p:nvSpPr>
            <p:cNvPr id="18" name="Freeform 8"/>
            <p:cNvSpPr>
              <a:spLocks noChangeAspect="1" noEditPoints="1"/>
            </p:cNvSpPr>
            <p:nvPr/>
          </p:nvSpPr>
          <p:spPr bwMode="auto">
            <a:xfrm>
              <a:off x="4517663" y="3361279"/>
              <a:ext cx="834399" cy="834399"/>
            </a:xfrm>
            <a:custGeom>
              <a:avLst/>
              <a:gdLst>
                <a:gd name="T0" fmla="*/ 0 w 346"/>
                <a:gd name="T1" fmla="*/ 0 h 346"/>
                <a:gd name="T2" fmla="*/ 0 w 346"/>
                <a:gd name="T3" fmla="*/ 346 h 346"/>
                <a:gd name="T4" fmla="*/ 54 w 346"/>
                <a:gd name="T5" fmla="*/ 346 h 346"/>
                <a:gd name="T6" fmla="*/ 64 w 346"/>
                <a:gd name="T7" fmla="*/ 268 h 346"/>
                <a:gd name="T8" fmla="*/ 91 w 346"/>
                <a:gd name="T9" fmla="*/ 241 h 346"/>
                <a:gd name="T10" fmla="*/ 143 w 346"/>
                <a:gd name="T11" fmla="*/ 223 h 346"/>
                <a:gd name="T12" fmla="*/ 145 w 346"/>
                <a:gd name="T13" fmla="*/ 224 h 346"/>
                <a:gd name="T14" fmla="*/ 149 w 346"/>
                <a:gd name="T15" fmla="*/ 228 h 346"/>
                <a:gd name="T16" fmla="*/ 173 w 346"/>
                <a:gd name="T17" fmla="*/ 238 h 346"/>
                <a:gd name="T18" fmla="*/ 197 w 346"/>
                <a:gd name="T19" fmla="*/ 228 h 346"/>
                <a:gd name="T20" fmla="*/ 201 w 346"/>
                <a:gd name="T21" fmla="*/ 224 h 346"/>
                <a:gd name="T22" fmla="*/ 203 w 346"/>
                <a:gd name="T23" fmla="*/ 223 h 346"/>
                <a:gd name="T24" fmla="*/ 255 w 346"/>
                <a:gd name="T25" fmla="*/ 241 h 346"/>
                <a:gd name="T26" fmla="*/ 282 w 346"/>
                <a:gd name="T27" fmla="*/ 268 h 346"/>
                <a:gd name="T28" fmla="*/ 292 w 346"/>
                <a:gd name="T29" fmla="*/ 346 h 346"/>
                <a:gd name="T30" fmla="*/ 346 w 346"/>
                <a:gd name="T31" fmla="*/ 346 h 346"/>
                <a:gd name="T32" fmla="*/ 346 w 346"/>
                <a:gd name="T33" fmla="*/ 0 h 346"/>
                <a:gd name="T34" fmla="*/ 0 w 346"/>
                <a:gd name="T35" fmla="*/ 0 h 346"/>
                <a:gd name="T36" fmla="*/ 331 w 346"/>
                <a:gd name="T37" fmla="*/ 331 h 346"/>
                <a:gd name="T38" fmla="*/ 305 w 346"/>
                <a:gd name="T39" fmla="*/ 331 h 346"/>
                <a:gd name="T40" fmla="*/ 296 w 346"/>
                <a:gd name="T41" fmla="*/ 266 h 346"/>
                <a:gd name="T42" fmla="*/ 296 w 346"/>
                <a:gd name="T43" fmla="*/ 264 h 346"/>
                <a:gd name="T44" fmla="*/ 259 w 346"/>
                <a:gd name="T45" fmla="*/ 227 h 346"/>
                <a:gd name="T46" fmla="*/ 208 w 346"/>
                <a:gd name="T47" fmla="*/ 209 h 346"/>
                <a:gd name="T48" fmla="*/ 190 w 346"/>
                <a:gd name="T49" fmla="*/ 213 h 346"/>
                <a:gd name="T50" fmla="*/ 186 w 346"/>
                <a:gd name="T51" fmla="*/ 217 h 346"/>
                <a:gd name="T52" fmla="*/ 173 w 346"/>
                <a:gd name="T53" fmla="*/ 223 h 346"/>
                <a:gd name="T54" fmla="*/ 159 w 346"/>
                <a:gd name="T55" fmla="*/ 217 h 346"/>
                <a:gd name="T56" fmla="*/ 155 w 346"/>
                <a:gd name="T57" fmla="*/ 213 h 346"/>
                <a:gd name="T58" fmla="*/ 138 w 346"/>
                <a:gd name="T59" fmla="*/ 209 h 346"/>
                <a:gd name="T60" fmla="*/ 86 w 346"/>
                <a:gd name="T61" fmla="*/ 227 h 346"/>
                <a:gd name="T62" fmla="*/ 49 w 346"/>
                <a:gd name="T63" fmla="*/ 264 h 346"/>
                <a:gd name="T64" fmla="*/ 41 w 346"/>
                <a:gd name="T65" fmla="*/ 331 h 346"/>
                <a:gd name="T66" fmla="*/ 14 w 346"/>
                <a:gd name="T67" fmla="*/ 331 h 346"/>
                <a:gd name="T68" fmla="*/ 14 w 346"/>
                <a:gd name="T69" fmla="*/ 14 h 346"/>
                <a:gd name="T70" fmla="*/ 331 w 346"/>
                <a:gd name="T71" fmla="*/ 14 h 346"/>
                <a:gd name="T72" fmla="*/ 331 w 346"/>
                <a:gd name="T73" fmla="*/ 331 h 346"/>
                <a:gd name="T74" fmla="*/ 173 w 346"/>
                <a:gd name="T75" fmla="*/ 201 h 346"/>
                <a:gd name="T76" fmla="*/ 204 w 346"/>
                <a:gd name="T77" fmla="*/ 184 h 346"/>
                <a:gd name="T78" fmla="*/ 220 w 346"/>
                <a:gd name="T79" fmla="*/ 124 h 346"/>
                <a:gd name="T80" fmla="*/ 173 w 346"/>
                <a:gd name="T81" fmla="*/ 73 h 346"/>
                <a:gd name="T82" fmla="*/ 126 w 346"/>
                <a:gd name="T83" fmla="*/ 124 h 346"/>
                <a:gd name="T84" fmla="*/ 142 w 346"/>
                <a:gd name="T85" fmla="*/ 184 h 346"/>
                <a:gd name="T86" fmla="*/ 173 w 346"/>
                <a:gd name="T87" fmla="*/ 201 h 346"/>
                <a:gd name="T88" fmla="*/ 173 w 346"/>
                <a:gd name="T89" fmla="*/ 88 h 346"/>
                <a:gd name="T90" fmla="*/ 205 w 346"/>
                <a:gd name="T91" fmla="*/ 124 h 346"/>
                <a:gd name="T92" fmla="*/ 193 w 346"/>
                <a:gd name="T93" fmla="*/ 174 h 346"/>
                <a:gd name="T94" fmla="*/ 173 w 346"/>
                <a:gd name="T95" fmla="*/ 187 h 346"/>
                <a:gd name="T96" fmla="*/ 153 w 346"/>
                <a:gd name="T97" fmla="*/ 174 h 346"/>
                <a:gd name="T98" fmla="*/ 141 w 346"/>
                <a:gd name="T99" fmla="*/ 124 h 346"/>
                <a:gd name="T100" fmla="*/ 173 w 346"/>
                <a:gd name="T101" fmla="*/ 88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46" h="346">
                  <a:moveTo>
                    <a:pt x="0" y="0"/>
                  </a:moveTo>
                  <a:cubicBezTo>
                    <a:pt x="0" y="346"/>
                    <a:pt x="0" y="346"/>
                    <a:pt x="0" y="346"/>
                  </a:cubicBezTo>
                  <a:cubicBezTo>
                    <a:pt x="54" y="346"/>
                    <a:pt x="54" y="346"/>
                    <a:pt x="54" y="346"/>
                  </a:cubicBezTo>
                  <a:cubicBezTo>
                    <a:pt x="64" y="268"/>
                    <a:pt x="64" y="268"/>
                    <a:pt x="64" y="268"/>
                  </a:cubicBezTo>
                  <a:cubicBezTo>
                    <a:pt x="68" y="255"/>
                    <a:pt x="78" y="245"/>
                    <a:pt x="91" y="241"/>
                  </a:cubicBezTo>
                  <a:cubicBezTo>
                    <a:pt x="143" y="223"/>
                    <a:pt x="143" y="223"/>
                    <a:pt x="143" y="223"/>
                  </a:cubicBezTo>
                  <a:cubicBezTo>
                    <a:pt x="143" y="223"/>
                    <a:pt x="144" y="223"/>
                    <a:pt x="145" y="224"/>
                  </a:cubicBezTo>
                  <a:cubicBezTo>
                    <a:pt x="149" y="228"/>
                    <a:pt x="149" y="228"/>
                    <a:pt x="149" y="228"/>
                  </a:cubicBezTo>
                  <a:cubicBezTo>
                    <a:pt x="155" y="234"/>
                    <a:pt x="164" y="238"/>
                    <a:pt x="173" y="238"/>
                  </a:cubicBezTo>
                  <a:cubicBezTo>
                    <a:pt x="182" y="238"/>
                    <a:pt x="191" y="234"/>
                    <a:pt x="197" y="228"/>
                  </a:cubicBezTo>
                  <a:cubicBezTo>
                    <a:pt x="201" y="224"/>
                    <a:pt x="201" y="224"/>
                    <a:pt x="201" y="224"/>
                  </a:cubicBezTo>
                  <a:cubicBezTo>
                    <a:pt x="202" y="223"/>
                    <a:pt x="202" y="223"/>
                    <a:pt x="203" y="223"/>
                  </a:cubicBezTo>
                  <a:cubicBezTo>
                    <a:pt x="255" y="241"/>
                    <a:pt x="255" y="241"/>
                    <a:pt x="255" y="241"/>
                  </a:cubicBezTo>
                  <a:cubicBezTo>
                    <a:pt x="267" y="245"/>
                    <a:pt x="278" y="255"/>
                    <a:pt x="282" y="268"/>
                  </a:cubicBezTo>
                  <a:cubicBezTo>
                    <a:pt x="292" y="346"/>
                    <a:pt x="292" y="346"/>
                    <a:pt x="292" y="346"/>
                  </a:cubicBezTo>
                  <a:cubicBezTo>
                    <a:pt x="346" y="346"/>
                    <a:pt x="346" y="346"/>
                    <a:pt x="346" y="346"/>
                  </a:cubicBezTo>
                  <a:cubicBezTo>
                    <a:pt x="346" y="0"/>
                    <a:pt x="346" y="0"/>
                    <a:pt x="346" y="0"/>
                  </a:cubicBezTo>
                  <a:lnTo>
                    <a:pt x="0" y="0"/>
                  </a:lnTo>
                  <a:close/>
                  <a:moveTo>
                    <a:pt x="331" y="331"/>
                  </a:moveTo>
                  <a:cubicBezTo>
                    <a:pt x="305" y="331"/>
                    <a:pt x="305" y="331"/>
                    <a:pt x="305" y="331"/>
                  </a:cubicBezTo>
                  <a:cubicBezTo>
                    <a:pt x="296" y="266"/>
                    <a:pt x="296" y="266"/>
                    <a:pt x="296" y="266"/>
                  </a:cubicBezTo>
                  <a:cubicBezTo>
                    <a:pt x="296" y="264"/>
                    <a:pt x="296" y="264"/>
                    <a:pt x="296" y="264"/>
                  </a:cubicBezTo>
                  <a:cubicBezTo>
                    <a:pt x="291" y="247"/>
                    <a:pt x="277" y="233"/>
                    <a:pt x="259" y="227"/>
                  </a:cubicBezTo>
                  <a:cubicBezTo>
                    <a:pt x="208" y="209"/>
                    <a:pt x="208" y="209"/>
                    <a:pt x="208" y="209"/>
                  </a:cubicBezTo>
                  <a:cubicBezTo>
                    <a:pt x="202" y="207"/>
                    <a:pt x="195" y="209"/>
                    <a:pt x="190" y="213"/>
                  </a:cubicBezTo>
                  <a:cubicBezTo>
                    <a:pt x="186" y="217"/>
                    <a:pt x="186" y="217"/>
                    <a:pt x="186" y="217"/>
                  </a:cubicBezTo>
                  <a:cubicBezTo>
                    <a:pt x="183" y="221"/>
                    <a:pt x="178" y="223"/>
                    <a:pt x="173" y="223"/>
                  </a:cubicBezTo>
                  <a:cubicBezTo>
                    <a:pt x="168" y="223"/>
                    <a:pt x="163" y="221"/>
                    <a:pt x="159" y="217"/>
                  </a:cubicBezTo>
                  <a:cubicBezTo>
                    <a:pt x="155" y="213"/>
                    <a:pt x="155" y="213"/>
                    <a:pt x="155" y="213"/>
                  </a:cubicBezTo>
                  <a:cubicBezTo>
                    <a:pt x="151" y="209"/>
                    <a:pt x="144" y="207"/>
                    <a:pt x="138" y="209"/>
                  </a:cubicBezTo>
                  <a:cubicBezTo>
                    <a:pt x="86" y="227"/>
                    <a:pt x="86" y="227"/>
                    <a:pt x="86" y="227"/>
                  </a:cubicBezTo>
                  <a:cubicBezTo>
                    <a:pt x="69" y="233"/>
                    <a:pt x="55" y="247"/>
                    <a:pt x="49" y="264"/>
                  </a:cubicBezTo>
                  <a:cubicBezTo>
                    <a:pt x="41" y="331"/>
                    <a:pt x="41" y="331"/>
                    <a:pt x="41" y="331"/>
                  </a:cubicBezTo>
                  <a:cubicBezTo>
                    <a:pt x="14" y="331"/>
                    <a:pt x="14" y="331"/>
                    <a:pt x="14" y="331"/>
                  </a:cubicBezTo>
                  <a:cubicBezTo>
                    <a:pt x="14" y="14"/>
                    <a:pt x="14" y="14"/>
                    <a:pt x="14" y="14"/>
                  </a:cubicBezTo>
                  <a:cubicBezTo>
                    <a:pt x="331" y="14"/>
                    <a:pt x="331" y="14"/>
                    <a:pt x="331" y="14"/>
                  </a:cubicBezTo>
                  <a:lnTo>
                    <a:pt x="331" y="331"/>
                  </a:lnTo>
                  <a:close/>
                  <a:moveTo>
                    <a:pt x="173" y="201"/>
                  </a:moveTo>
                  <a:cubicBezTo>
                    <a:pt x="187" y="201"/>
                    <a:pt x="195" y="193"/>
                    <a:pt x="204" y="184"/>
                  </a:cubicBezTo>
                  <a:cubicBezTo>
                    <a:pt x="214" y="172"/>
                    <a:pt x="220" y="152"/>
                    <a:pt x="220" y="124"/>
                  </a:cubicBezTo>
                  <a:cubicBezTo>
                    <a:pt x="220" y="96"/>
                    <a:pt x="199" y="73"/>
                    <a:pt x="173" y="73"/>
                  </a:cubicBezTo>
                  <a:cubicBezTo>
                    <a:pt x="147" y="73"/>
                    <a:pt x="126" y="96"/>
                    <a:pt x="126" y="124"/>
                  </a:cubicBezTo>
                  <a:cubicBezTo>
                    <a:pt x="126" y="152"/>
                    <a:pt x="131" y="172"/>
                    <a:pt x="142" y="184"/>
                  </a:cubicBezTo>
                  <a:cubicBezTo>
                    <a:pt x="150" y="193"/>
                    <a:pt x="158" y="201"/>
                    <a:pt x="173" y="201"/>
                  </a:cubicBezTo>
                  <a:close/>
                  <a:moveTo>
                    <a:pt x="173" y="88"/>
                  </a:moveTo>
                  <a:cubicBezTo>
                    <a:pt x="190" y="88"/>
                    <a:pt x="205" y="104"/>
                    <a:pt x="205" y="124"/>
                  </a:cubicBezTo>
                  <a:cubicBezTo>
                    <a:pt x="205" y="148"/>
                    <a:pt x="201" y="165"/>
                    <a:pt x="193" y="174"/>
                  </a:cubicBezTo>
                  <a:cubicBezTo>
                    <a:pt x="184" y="184"/>
                    <a:pt x="180" y="187"/>
                    <a:pt x="173" y="187"/>
                  </a:cubicBezTo>
                  <a:cubicBezTo>
                    <a:pt x="166" y="187"/>
                    <a:pt x="161" y="184"/>
                    <a:pt x="153" y="174"/>
                  </a:cubicBezTo>
                  <a:cubicBezTo>
                    <a:pt x="145" y="165"/>
                    <a:pt x="141" y="148"/>
                    <a:pt x="141" y="124"/>
                  </a:cubicBezTo>
                  <a:cubicBezTo>
                    <a:pt x="141" y="104"/>
                    <a:pt x="155" y="88"/>
                    <a:pt x="173" y="88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chemeClr val="accent1"/>
                </a:solidFill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4517663" y="3048380"/>
              <a:ext cx="3766275" cy="138499"/>
            </a:xfrm>
            <a:prstGeom prst="rect">
              <a:avLst/>
            </a:prstGeom>
            <a:ln w="6350">
              <a:noFill/>
            </a:ln>
          </p:spPr>
          <p:txBody>
            <a:bodyPr wrap="square" lIns="72000" tIns="0" rIns="72000" bIns="0">
              <a:spAutoFit/>
            </a:bodyPr>
            <a:lstStyle/>
            <a:p>
              <a:pPr algn="ctr">
                <a:defRPr/>
              </a:pPr>
              <a:r>
                <a:rPr lang="en-GB" sz="900" b="1" dirty="0">
                  <a:sym typeface="Arial"/>
                </a:rPr>
                <a:t>7. </a:t>
              </a:r>
              <a:r>
                <a:rPr lang="lv-LV" sz="900" b="1" dirty="0">
                  <a:sym typeface="Arial"/>
                </a:rPr>
                <a:t>Ko viņi </a:t>
              </a:r>
              <a:r>
                <a:rPr lang="en-GB" sz="900" b="1" dirty="0">
                  <a:sym typeface="Arial"/>
                </a:rPr>
                <a:t>DO</a:t>
              </a:r>
              <a:r>
                <a:rPr lang="lv-LV" sz="900" b="1" dirty="0">
                  <a:sym typeface="Arial"/>
                </a:rPr>
                <a:t>MĀ un JŪT?</a:t>
              </a: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5430287" y="3361279"/>
              <a:ext cx="1378290" cy="626701"/>
            </a:xfrm>
            <a:prstGeom prst="rect">
              <a:avLst/>
            </a:prstGeom>
            <a:ln w="6350">
              <a:solidFill>
                <a:schemeClr val="accent1"/>
              </a:solidFill>
            </a:ln>
          </p:spPr>
          <p:txBody>
            <a:bodyPr wrap="square" lIns="36000" tIns="36000" rIns="0" bIns="36000">
              <a:spAutoFit/>
            </a:bodyPr>
            <a:lstStyle/>
            <a:p>
              <a:pPr lvl="0" defTabSz="665665">
                <a:buClr>
                  <a:srgbClr val="000000"/>
                </a:buClr>
                <a:defRPr/>
              </a:pPr>
              <a:r>
                <a:rPr lang="lv-LV" sz="900" b="1" kern="0" dirty="0">
                  <a:solidFill>
                    <a:prstClr val="black"/>
                  </a:solidFill>
                  <a:cs typeface="Arial"/>
                  <a:sym typeface="Arial"/>
                </a:rPr>
                <a:t>Sāpes</a:t>
              </a:r>
            </a:p>
            <a:p>
              <a:pPr lvl="0" defTabSz="665665">
                <a:buClr>
                  <a:srgbClr val="000000"/>
                </a:buClr>
                <a:defRPr/>
              </a:pPr>
              <a:r>
                <a:rPr lang="lv-LV" sz="900" kern="0" dirty="0">
                  <a:solidFill>
                    <a:prstClr val="black"/>
                  </a:solidFill>
                  <a:cs typeface="Arial"/>
                  <a:sym typeface="Arial"/>
                </a:rPr>
                <a:t>No kā viņi baidās,</a:t>
              </a:r>
              <a:br>
                <a:rPr lang="en-US" sz="900" kern="0" dirty="0">
                  <a:solidFill>
                    <a:prstClr val="black"/>
                  </a:solidFill>
                  <a:cs typeface="Arial"/>
                  <a:sym typeface="Arial"/>
                </a:rPr>
              </a:br>
              <a:r>
                <a:rPr lang="lv-LV" sz="900" kern="0" dirty="0">
                  <a:solidFill>
                    <a:prstClr val="black"/>
                  </a:solidFill>
                  <a:cs typeface="Arial"/>
                  <a:sym typeface="Arial"/>
                </a:rPr>
                <a:t>par</a:t>
              </a:r>
              <a:r>
                <a:rPr lang="en-US" sz="900" kern="0" dirty="0">
                  <a:solidFill>
                    <a:prstClr val="black"/>
                  </a:solidFill>
                  <a:cs typeface="Arial"/>
                  <a:sym typeface="Arial"/>
                </a:rPr>
                <a:t> </a:t>
              </a:r>
              <a:r>
                <a:rPr lang="lv-LV" sz="900" kern="0" dirty="0">
                  <a:solidFill>
                    <a:prstClr val="black"/>
                  </a:solidFill>
                  <a:cs typeface="Arial"/>
                  <a:sym typeface="Arial"/>
                </a:rPr>
                <a:t>ko satraucas</a:t>
              </a:r>
              <a:br>
                <a:rPr lang="en-US" sz="900" kern="0" dirty="0">
                  <a:solidFill>
                    <a:prstClr val="black"/>
                  </a:solidFill>
                  <a:cs typeface="Arial"/>
                  <a:sym typeface="Arial"/>
                </a:rPr>
              </a:br>
              <a:r>
                <a:rPr lang="lv-LV" sz="900" kern="0" dirty="0">
                  <a:solidFill>
                    <a:prstClr val="black"/>
                  </a:solidFill>
                  <a:cs typeface="Arial"/>
                  <a:sym typeface="Arial"/>
                </a:rPr>
                <a:t>vai bažījas?</a:t>
              </a:r>
              <a:endParaRPr lang="en-GB" sz="900" kern="0" dirty="0">
                <a:solidFill>
                  <a:prstClr val="black"/>
                </a:solidFill>
                <a:cs typeface="Arial"/>
                <a:sym typeface="Arial"/>
              </a:endParaRPr>
            </a:p>
          </p:txBody>
        </p:sp>
        <p:sp>
          <p:nvSpPr>
            <p:cNvPr id="58" name="Rectangle 57"/>
            <p:cNvSpPr/>
            <p:nvPr/>
          </p:nvSpPr>
          <p:spPr>
            <a:xfrm>
              <a:off x="6905919" y="3361279"/>
              <a:ext cx="1378019" cy="626701"/>
            </a:xfrm>
            <a:prstGeom prst="rect">
              <a:avLst/>
            </a:prstGeom>
            <a:ln w="6350">
              <a:solidFill>
                <a:schemeClr val="accent1"/>
              </a:solidFill>
            </a:ln>
          </p:spPr>
          <p:txBody>
            <a:bodyPr wrap="square" lIns="36000" tIns="36000" rIns="0" bIns="36000">
              <a:spAutoFit/>
            </a:bodyPr>
            <a:lstStyle/>
            <a:p>
              <a:pPr lvl="0" defTabSz="665665">
                <a:buClr>
                  <a:srgbClr val="000000"/>
                </a:buClr>
                <a:defRPr/>
              </a:pPr>
              <a:r>
                <a:rPr lang="lv-LV" sz="900" b="1" kern="0" dirty="0">
                  <a:solidFill>
                    <a:prstClr val="black"/>
                  </a:solidFill>
                  <a:cs typeface="Arial"/>
                  <a:sym typeface="Arial"/>
                </a:rPr>
                <a:t>Ieguvumi</a:t>
              </a:r>
            </a:p>
            <a:p>
              <a:pPr lvl="0" defTabSz="665665">
                <a:buClr>
                  <a:srgbClr val="000000"/>
                </a:buClr>
                <a:defRPr/>
              </a:pPr>
              <a:r>
                <a:rPr lang="lv-LV" sz="900" kern="0" dirty="0">
                  <a:solidFill>
                    <a:prstClr val="black"/>
                  </a:solidFill>
                  <a:cs typeface="Arial"/>
                  <a:sym typeface="Arial"/>
                </a:rPr>
                <a:t>Kādas ir viņu vēlmes, vajadzības, cerības</a:t>
              </a:r>
              <a:br>
                <a:rPr lang="en-US" sz="900" kern="0" dirty="0">
                  <a:solidFill>
                    <a:prstClr val="black"/>
                  </a:solidFill>
                  <a:cs typeface="Arial"/>
                  <a:sym typeface="Arial"/>
                </a:rPr>
              </a:br>
              <a:r>
                <a:rPr lang="lv-LV" sz="900" kern="0" dirty="0">
                  <a:solidFill>
                    <a:prstClr val="black"/>
                  </a:solidFill>
                  <a:cs typeface="Arial"/>
                  <a:sym typeface="Arial"/>
                </a:rPr>
                <a:t>un sapņi?</a:t>
              </a:r>
              <a:endParaRPr lang="en-GB" sz="900" kern="0" dirty="0">
                <a:solidFill>
                  <a:prstClr val="black"/>
                </a:solidFill>
                <a:cs typeface="Arial"/>
                <a:sym typeface="Arial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5430287" y="4075180"/>
              <a:ext cx="2853651" cy="211203"/>
            </a:xfrm>
            <a:prstGeom prst="rect">
              <a:avLst/>
            </a:prstGeom>
            <a:ln w="6350">
              <a:solidFill>
                <a:schemeClr val="accent1"/>
              </a:solidFill>
            </a:ln>
          </p:spPr>
          <p:txBody>
            <a:bodyPr wrap="square" lIns="288000" tIns="36000" rIns="0" bIns="36000">
              <a:spAutoFit/>
            </a:bodyPr>
            <a:lstStyle/>
            <a:p>
              <a:pPr defTabSz="665665">
                <a:buClr>
                  <a:srgbClr val="000000"/>
                </a:buClr>
              </a:pPr>
              <a:r>
                <a:rPr lang="lv-LV" sz="900" kern="0" dirty="0">
                  <a:solidFill>
                    <a:prstClr val="black"/>
                  </a:solidFill>
                  <a:cs typeface="Arial"/>
                  <a:sym typeface="Arial"/>
                </a:rPr>
                <a:t>Kādas citas domas vai jūtas ietekmē viņu rīcību?</a:t>
              </a:r>
            </a:p>
          </p:txBody>
        </p:sp>
        <p:grpSp>
          <p:nvGrpSpPr>
            <p:cNvPr id="82" name="Group 21"/>
            <p:cNvGrpSpPr>
              <a:grpSpLocks noChangeAspect="1"/>
            </p:cNvGrpSpPr>
            <p:nvPr/>
          </p:nvGrpSpPr>
          <p:grpSpPr bwMode="auto">
            <a:xfrm>
              <a:off x="5427849" y="4074581"/>
              <a:ext cx="212400" cy="212400"/>
              <a:chOff x="2770" y="965"/>
              <a:chExt cx="302" cy="302"/>
            </a:xfrm>
            <a:solidFill>
              <a:schemeClr val="accent1"/>
            </a:solidFill>
          </p:grpSpPr>
          <p:sp>
            <p:nvSpPr>
              <p:cNvPr id="83" name="Freeform 22"/>
              <p:cNvSpPr>
                <a:spLocks noEditPoints="1"/>
              </p:cNvSpPr>
              <p:nvPr/>
            </p:nvSpPr>
            <p:spPr bwMode="auto">
              <a:xfrm>
                <a:off x="2770" y="965"/>
                <a:ext cx="302" cy="302"/>
              </a:xfrm>
              <a:custGeom>
                <a:avLst/>
                <a:gdLst>
                  <a:gd name="T0" fmla="*/ 0 w 302"/>
                  <a:gd name="T1" fmla="*/ 0 h 302"/>
                  <a:gd name="T2" fmla="*/ 0 w 302"/>
                  <a:gd name="T3" fmla="*/ 302 h 302"/>
                  <a:gd name="T4" fmla="*/ 302 w 302"/>
                  <a:gd name="T5" fmla="*/ 302 h 302"/>
                  <a:gd name="T6" fmla="*/ 302 w 302"/>
                  <a:gd name="T7" fmla="*/ 0 h 302"/>
                  <a:gd name="T8" fmla="*/ 0 w 302"/>
                  <a:gd name="T9" fmla="*/ 0 h 302"/>
                  <a:gd name="T10" fmla="*/ 289 w 302"/>
                  <a:gd name="T11" fmla="*/ 289 h 302"/>
                  <a:gd name="T12" fmla="*/ 13 w 302"/>
                  <a:gd name="T13" fmla="*/ 289 h 302"/>
                  <a:gd name="T14" fmla="*/ 13 w 302"/>
                  <a:gd name="T15" fmla="*/ 13 h 302"/>
                  <a:gd name="T16" fmla="*/ 289 w 302"/>
                  <a:gd name="T17" fmla="*/ 13 h 302"/>
                  <a:gd name="T18" fmla="*/ 289 w 302"/>
                  <a:gd name="T19" fmla="*/ 289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02" h="302">
                    <a:moveTo>
                      <a:pt x="0" y="0"/>
                    </a:moveTo>
                    <a:lnTo>
                      <a:pt x="0" y="302"/>
                    </a:lnTo>
                    <a:lnTo>
                      <a:pt x="302" y="302"/>
                    </a:lnTo>
                    <a:lnTo>
                      <a:pt x="302" y="0"/>
                    </a:lnTo>
                    <a:lnTo>
                      <a:pt x="0" y="0"/>
                    </a:lnTo>
                    <a:close/>
                    <a:moveTo>
                      <a:pt x="289" y="289"/>
                    </a:moveTo>
                    <a:lnTo>
                      <a:pt x="13" y="289"/>
                    </a:lnTo>
                    <a:lnTo>
                      <a:pt x="13" y="13"/>
                    </a:lnTo>
                    <a:lnTo>
                      <a:pt x="289" y="13"/>
                    </a:lnTo>
                    <a:lnTo>
                      <a:pt x="289" y="2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84" name="Freeform 23"/>
              <p:cNvSpPr>
                <a:spLocks noEditPoints="1"/>
              </p:cNvSpPr>
              <p:nvPr/>
            </p:nvSpPr>
            <p:spPr bwMode="auto">
              <a:xfrm>
                <a:off x="2863" y="1023"/>
                <a:ext cx="116" cy="185"/>
              </a:xfrm>
              <a:custGeom>
                <a:avLst/>
                <a:gdLst>
                  <a:gd name="T0" fmla="*/ 0 w 221"/>
                  <a:gd name="T1" fmla="*/ 118 h 354"/>
                  <a:gd name="T2" fmla="*/ 8 w 221"/>
                  <a:gd name="T3" fmla="*/ 70 h 354"/>
                  <a:gd name="T4" fmla="*/ 31 w 221"/>
                  <a:gd name="T5" fmla="*/ 33 h 354"/>
                  <a:gd name="T6" fmla="*/ 68 w 221"/>
                  <a:gd name="T7" fmla="*/ 9 h 354"/>
                  <a:gd name="T8" fmla="*/ 116 w 221"/>
                  <a:gd name="T9" fmla="*/ 0 h 354"/>
                  <a:gd name="T10" fmla="*/ 157 w 221"/>
                  <a:gd name="T11" fmla="*/ 7 h 354"/>
                  <a:gd name="T12" fmla="*/ 191 w 221"/>
                  <a:gd name="T13" fmla="*/ 26 h 354"/>
                  <a:gd name="T14" fmla="*/ 213 w 221"/>
                  <a:gd name="T15" fmla="*/ 56 h 354"/>
                  <a:gd name="T16" fmla="*/ 221 w 221"/>
                  <a:gd name="T17" fmla="*/ 98 h 354"/>
                  <a:gd name="T18" fmla="*/ 218 w 221"/>
                  <a:gd name="T19" fmla="*/ 127 h 354"/>
                  <a:gd name="T20" fmla="*/ 208 w 221"/>
                  <a:gd name="T21" fmla="*/ 148 h 354"/>
                  <a:gd name="T22" fmla="*/ 194 w 221"/>
                  <a:gd name="T23" fmla="*/ 164 h 354"/>
                  <a:gd name="T24" fmla="*/ 179 w 221"/>
                  <a:gd name="T25" fmla="*/ 178 h 354"/>
                  <a:gd name="T26" fmla="*/ 162 w 221"/>
                  <a:gd name="T27" fmla="*/ 193 h 354"/>
                  <a:gd name="T28" fmla="*/ 148 w 221"/>
                  <a:gd name="T29" fmla="*/ 209 h 354"/>
                  <a:gd name="T30" fmla="*/ 139 w 221"/>
                  <a:gd name="T31" fmla="*/ 231 h 354"/>
                  <a:gd name="T32" fmla="*/ 136 w 221"/>
                  <a:gd name="T33" fmla="*/ 260 h 354"/>
                  <a:gd name="T34" fmla="*/ 84 w 221"/>
                  <a:gd name="T35" fmla="*/ 260 h 354"/>
                  <a:gd name="T36" fmla="*/ 86 w 221"/>
                  <a:gd name="T37" fmla="*/ 224 h 354"/>
                  <a:gd name="T38" fmla="*/ 93 w 221"/>
                  <a:gd name="T39" fmla="*/ 198 h 354"/>
                  <a:gd name="T40" fmla="*/ 105 w 221"/>
                  <a:gd name="T41" fmla="*/ 178 h 354"/>
                  <a:gd name="T42" fmla="*/ 122 w 221"/>
                  <a:gd name="T43" fmla="*/ 162 h 354"/>
                  <a:gd name="T44" fmla="*/ 136 w 221"/>
                  <a:gd name="T45" fmla="*/ 149 h 354"/>
                  <a:gd name="T46" fmla="*/ 149 w 221"/>
                  <a:gd name="T47" fmla="*/ 136 h 354"/>
                  <a:gd name="T48" fmla="*/ 158 w 221"/>
                  <a:gd name="T49" fmla="*/ 121 h 354"/>
                  <a:gd name="T50" fmla="*/ 161 w 221"/>
                  <a:gd name="T51" fmla="*/ 100 h 354"/>
                  <a:gd name="T52" fmla="*/ 156 w 221"/>
                  <a:gd name="T53" fmla="*/ 75 h 354"/>
                  <a:gd name="T54" fmla="*/ 143 w 221"/>
                  <a:gd name="T55" fmla="*/ 58 h 354"/>
                  <a:gd name="T56" fmla="*/ 128 w 221"/>
                  <a:gd name="T57" fmla="*/ 49 h 354"/>
                  <a:gd name="T58" fmla="*/ 113 w 221"/>
                  <a:gd name="T59" fmla="*/ 46 h 354"/>
                  <a:gd name="T60" fmla="*/ 69 w 221"/>
                  <a:gd name="T61" fmla="*/ 66 h 354"/>
                  <a:gd name="T62" fmla="*/ 55 w 221"/>
                  <a:gd name="T63" fmla="*/ 118 h 354"/>
                  <a:gd name="T64" fmla="*/ 0 w 221"/>
                  <a:gd name="T65" fmla="*/ 118 h 354"/>
                  <a:gd name="T66" fmla="*/ 77 w 221"/>
                  <a:gd name="T67" fmla="*/ 293 h 354"/>
                  <a:gd name="T68" fmla="*/ 141 w 221"/>
                  <a:gd name="T69" fmla="*/ 293 h 354"/>
                  <a:gd name="T70" fmla="*/ 141 w 221"/>
                  <a:gd name="T71" fmla="*/ 354 h 354"/>
                  <a:gd name="T72" fmla="*/ 77 w 221"/>
                  <a:gd name="T73" fmla="*/ 354 h 354"/>
                  <a:gd name="T74" fmla="*/ 77 w 221"/>
                  <a:gd name="T75" fmla="*/ 293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21" h="354">
                    <a:moveTo>
                      <a:pt x="0" y="118"/>
                    </a:moveTo>
                    <a:cubicBezTo>
                      <a:pt x="0" y="100"/>
                      <a:pt x="2" y="84"/>
                      <a:pt x="8" y="70"/>
                    </a:cubicBezTo>
                    <a:cubicBezTo>
                      <a:pt x="13" y="55"/>
                      <a:pt x="21" y="43"/>
                      <a:pt x="31" y="33"/>
                    </a:cubicBezTo>
                    <a:cubicBezTo>
                      <a:pt x="41" y="22"/>
                      <a:pt x="53" y="14"/>
                      <a:pt x="68" y="9"/>
                    </a:cubicBezTo>
                    <a:cubicBezTo>
                      <a:pt x="82" y="3"/>
                      <a:pt x="98" y="0"/>
                      <a:pt x="116" y="0"/>
                    </a:cubicBezTo>
                    <a:cubicBezTo>
                      <a:pt x="131" y="0"/>
                      <a:pt x="144" y="2"/>
                      <a:pt x="157" y="7"/>
                    </a:cubicBezTo>
                    <a:cubicBezTo>
                      <a:pt x="170" y="11"/>
                      <a:pt x="181" y="17"/>
                      <a:pt x="191" y="26"/>
                    </a:cubicBezTo>
                    <a:cubicBezTo>
                      <a:pt x="200" y="34"/>
                      <a:pt x="208" y="44"/>
                      <a:pt x="213" y="56"/>
                    </a:cubicBezTo>
                    <a:cubicBezTo>
                      <a:pt x="219" y="69"/>
                      <a:pt x="221" y="82"/>
                      <a:pt x="221" y="98"/>
                    </a:cubicBezTo>
                    <a:cubicBezTo>
                      <a:pt x="221" y="109"/>
                      <a:pt x="220" y="119"/>
                      <a:pt x="218" y="127"/>
                    </a:cubicBezTo>
                    <a:cubicBezTo>
                      <a:pt x="215" y="135"/>
                      <a:pt x="212" y="143"/>
                      <a:pt x="208" y="148"/>
                    </a:cubicBezTo>
                    <a:cubicBezTo>
                      <a:pt x="204" y="154"/>
                      <a:pt x="199" y="160"/>
                      <a:pt x="194" y="164"/>
                    </a:cubicBezTo>
                    <a:cubicBezTo>
                      <a:pt x="189" y="169"/>
                      <a:pt x="184" y="174"/>
                      <a:pt x="179" y="178"/>
                    </a:cubicBezTo>
                    <a:cubicBezTo>
                      <a:pt x="173" y="183"/>
                      <a:pt x="167" y="188"/>
                      <a:pt x="162" y="193"/>
                    </a:cubicBezTo>
                    <a:cubicBezTo>
                      <a:pt x="157" y="198"/>
                      <a:pt x="152" y="203"/>
                      <a:pt x="148" y="209"/>
                    </a:cubicBezTo>
                    <a:cubicBezTo>
                      <a:pt x="144" y="215"/>
                      <a:pt x="141" y="222"/>
                      <a:pt x="139" y="231"/>
                    </a:cubicBezTo>
                    <a:cubicBezTo>
                      <a:pt x="137" y="239"/>
                      <a:pt x="136" y="248"/>
                      <a:pt x="136" y="260"/>
                    </a:cubicBezTo>
                    <a:cubicBezTo>
                      <a:pt x="84" y="260"/>
                      <a:pt x="84" y="260"/>
                      <a:pt x="84" y="260"/>
                    </a:cubicBezTo>
                    <a:cubicBezTo>
                      <a:pt x="84" y="246"/>
                      <a:pt x="85" y="234"/>
                      <a:pt x="86" y="224"/>
                    </a:cubicBezTo>
                    <a:cubicBezTo>
                      <a:pt x="88" y="214"/>
                      <a:pt x="90" y="206"/>
                      <a:pt x="93" y="198"/>
                    </a:cubicBezTo>
                    <a:cubicBezTo>
                      <a:pt x="96" y="191"/>
                      <a:pt x="100" y="184"/>
                      <a:pt x="105" y="178"/>
                    </a:cubicBezTo>
                    <a:cubicBezTo>
                      <a:pt x="110" y="173"/>
                      <a:pt x="115" y="167"/>
                      <a:pt x="122" y="162"/>
                    </a:cubicBezTo>
                    <a:cubicBezTo>
                      <a:pt x="127" y="157"/>
                      <a:pt x="132" y="153"/>
                      <a:pt x="136" y="149"/>
                    </a:cubicBezTo>
                    <a:cubicBezTo>
                      <a:pt x="141" y="145"/>
                      <a:pt x="145" y="141"/>
                      <a:pt x="149" y="136"/>
                    </a:cubicBezTo>
                    <a:cubicBezTo>
                      <a:pt x="153" y="132"/>
                      <a:pt x="156" y="126"/>
                      <a:pt x="158" y="121"/>
                    </a:cubicBezTo>
                    <a:cubicBezTo>
                      <a:pt x="160" y="115"/>
                      <a:pt x="161" y="108"/>
                      <a:pt x="161" y="100"/>
                    </a:cubicBezTo>
                    <a:cubicBezTo>
                      <a:pt x="161" y="90"/>
                      <a:pt x="159" y="82"/>
                      <a:pt x="156" y="75"/>
                    </a:cubicBezTo>
                    <a:cubicBezTo>
                      <a:pt x="152" y="68"/>
                      <a:pt x="148" y="62"/>
                      <a:pt x="143" y="58"/>
                    </a:cubicBezTo>
                    <a:cubicBezTo>
                      <a:pt x="139" y="54"/>
                      <a:pt x="133" y="51"/>
                      <a:pt x="128" y="49"/>
                    </a:cubicBezTo>
                    <a:cubicBezTo>
                      <a:pt x="122" y="47"/>
                      <a:pt x="118" y="46"/>
                      <a:pt x="113" y="46"/>
                    </a:cubicBezTo>
                    <a:cubicBezTo>
                      <a:pt x="93" y="46"/>
                      <a:pt x="79" y="53"/>
                      <a:pt x="69" y="66"/>
                    </a:cubicBezTo>
                    <a:cubicBezTo>
                      <a:pt x="60" y="79"/>
                      <a:pt x="55" y="96"/>
                      <a:pt x="55" y="118"/>
                    </a:cubicBezTo>
                    <a:lnTo>
                      <a:pt x="0" y="118"/>
                    </a:lnTo>
                    <a:close/>
                    <a:moveTo>
                      <a:pt x="77" y="293"/>
                    </a:moveTo>
                    <a:cubicBezTo>
                      <a:pt x="141" y="293"/>
                      <a:pt x="141" y="293"/>
                      <a:pt x="141" y="293"/>
                    </a:cubicBezTo>
                    <a:cubicBezTo>
                      <a:pt x="141" y="354"/>
                      <a:pt x="141" y="354"/>
                      <a:pt x="141" y="354"/>
                    </a:cubicBezTo>
                    <a:cubicBezTo>
                      <a:pt x="77" y="354"/>
                      <a:pt x="77" y="354"/>
                      <a:pt x="77" y="354"/>
                    </a:cubicBezTo>
                    <a:lnTo>
                      <a:pt x="77" y="29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cxnSp>
          <p:nvCxnSpPr>
            <p:cNvPr id="66" name="Straight Connector 65"/>
            <p:cNvCxnSpPr/>
            <p:nvPr/>
          </p:nvCxnSpPr>
          <p:spPr>
            <a:xfrm>
              <a:off x="4517663" y="3274079"/>
              <a:ext cx="3765550" cy="0"/>
            </a:xfrm>
            <a:prstGeom prst="line">
              <a:avLst/>
            </a:prstGeom>
            <a:ln w="3175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110" name="Group 109"/>
          <p:cNvGrpSpPr/>
          <p:nvPr/>
        </p:nvGrpSpPr>
        <p:grpSpPr>
          <a:xfrm>
            <a:off x="8638594" y="3020818"/>
            <a:ext cx="3939520" cy="3559565"/>
            <a:chOff x="8638594" y="2963280"/>
            <a:chExt cx="3939520" cy="3559565"/>
          </a:xfrm>
        </p:grpSpPr>
        <p:grpSp>
          <p:nvGrpSpPr>
            <p:cNvPr id="4" name="Group 16"/>
            <p:cNvGrpSpPr>
              <a:grpSpLocks noChangeAspect="1"/>
            </p:cNvGrpSpPr>
            <p:nvPr/>
          </p:nvGrpSpPr>
          <p:grpSpPr bwMode="auto">
            <a:xfrm>
              <a:off x="8722544" y="3361279"/>
              <a:ext cx="833089" cy="833089"/>
              <a:chOff x="986" y="0"/>
              <a:chExt cx="6696" cy="6695"/>
            </a:xfrm>
            <a:solidFill>
              <a:schemeClr val="accent5"/>
            </a:solidFill>
          </p:grpSpPr>
          <p:sp>
            <p:nvSpPr>
              <p:cNvPr id="5" name="Freeform 17"/>
              <p:cNvSpPr>
                <a:spLocks noEditPoints="1"/>
              </p:cNvSpPr>
              <p:nvPr/>
            </p:nvSpPr>
            <p:spPr bwMode="auto">
              <a:xfrm>
                <a:off x="986" y="0"/>
                <a:ext cx="6696" cy="6695"/>
              </a:xfrm>
              <a:custGeom>
                <a:avLst/>
                <a:gdLst>
                  <a:gd name="T0" fmla="*/ 6412 w 6696"/>
                  <a:gd name="T1" fmla="*/ 286 h 6695"/>
                  <a:gd name="T2" fmla="*/ 6098 w 6696"/>
                  <a:gd name="T3" fmla="*/ 2802 h 6695"/>
                  <a:gd name="T4" fmla="*/ 5586 w 6696"/>
                  <a:gd name="T5" fmla="*/ 2326 h 6695"/>
                  <a:gd name="T6" fmla="*/ 5234 w 6696"/>
                  <a:gd name="T7" fmla="*/ 2058 h 6695"/>
                  <a:gd name="T8" fmla="*/ 4811 w 6696"/>
                  <a:gd name="T9" fmla="*/ 1792 h 6695"/>
                  <a:gd name="T10" fmla="*/ 4387 w 6696"/>
                  <a:gd name="T11" fmla="*/ 1592 h 6695"/>
                  <a:gd name="T12" fmla="*/ 3965 w 6696"/>
                  <a:gd name="T13" fmla="*/ 1456 h 6695"/>
                  <a:gd name="T14" fmla="*/ 3551 w 6696"/>
                  <a:gd name="T15" fmla="*/ 1388 h 6695"/>
                  <a:gd name="T16" fmla="*/ 3213 w 6696"/>
                  <a:gd name="T17" fmla="*/ 1384 h 6695"/>
                  <a:gd name="T18" fmla="*/ 2801 w 6696"/>
                  <a:gd name="T19" fmla="*/ 1440 h 6695"/>
                  <a:gd name="T20" fmla="*/ 2381 w 6696"/>
                  <a:gd name="T21" fmla="*/ 1564 h 6695"/>
                  <a:gd name="T22" fmla="*/ 1957 w 6696"/>
                  <a:gd name="T23" fmla="*/ 1754 h 6695"/>
                  <a:gd name="T24" fmla="*/ 1532 w 6696"/>
                  <a:gd name="T25" fmla="*/ 2008 h 6695"/>
                  <a:gd name="T26" fmla="*/ 1110 w 6696"/>
                  <a:gd name="T27" fmla="*/ 2326 h 6695"/>
                  <a:gd name="T28" fmla="*/ 708 w 6696"/>
                  <a:gd name="T29" fmla="*/ 2690 h 6695"/>
                  <a:gd name="T30" fmla="*/ 286 w 6696"/>
                  <a:gd name="T31" fmla="*/ 286 h 6695"/>
                  <a:gd name="T32" fmla="*/ 5948 w 6696"/>
                  <a:gd name="T33" fmla="*/ 3633 h 6695"/>
                  <a:gd name="T34" fmla="*/ 5534 w 6696"/>
                  <a:gd name="T35" fmla="*/ 4035 h 6695"/>
                  <a:gd name="T36" fmla="*/ 4987 w 6696"/>
                  <a:gd name="T37" fmla="*/ 4459 h 6695"/>
                  <a:gd name="T38" fmla="*/ 4393 w 6696"/>
                  <a:gd name="T39" fmla="*/ 4791 h 6695"/>
                  <a:gd name="T40" fmla="*/ 4039 w 6696"/>
                  <a:gd name="T41" fmla="*/ 4923 h 6695"/>
                  <a:gd name="T42" fmla="*/ 3667 w 6696"/>
                  <a:gd name="T43" fmla="*/ 5005 h 6695"/>
                  <a:gd name="T44" fmla="*/ 3349 w 6696"/>
                  <a:gd name="T45" fmla="*/ 5029 h 6695"/>
                  <a:gd name="T46" fmla="*/ 2965 w 6696"/>
                  <a:gd name="T47" fmla="*/ 4995 h 6695"/>
                  <a:gd name="T48" fmla="*/ 2597 w 6696"/>
                  <a:gd name="T49" fmla="*/ 4905 h 6695"/>
                  <a:gd name="T50" fmla="*/ 2247 w 6696"/>
                  <a:gd name="T51" fmla="*/ 4765 h 6695"/>
                  <a:gd name="T52" fmla="*/ 1608 w 6696"/>
                  <a:gd name="T53" fmla="*/ 4391 h 6695"/>
                  <a:gd name="T54" fmla="*/ 1082 w 6696"/>
                  <a:gd name="T55" fmla="*/ 3963 h 6695"/>
                  <a:gd name="T56" fmla="*/ 644 w 6696"/>
                  <a:gd name="T57" fmla="*/ 3521 h 6695"/>
                  <a:gd name="T58" fmla="*/ 748 w 6696"/>
                  <a:gd name="T59" fmla="*/ 3062 h 6695"/>
                  <a:gd name="T60" fmla="*/ 1160 w 6696"/>
                  <a:gd name="T61" fmla="*/ 2660 h 6695"/>
                  <a:gd name="T62" fmla="*/ 1709 w 6696"/>
                  <a:gd name="T63" fmla="*/ 2236 h 6695"/>
                  <a:gd name="T64" fmla="*/ 2303 w 6696"/>
                  <a:gd name="T65" fmla="*/ 1904 h 6695"/>
                  <a:gd name="T66" fmla="*/ 2657 w 6696"/>
                  <a:gd name="T67" fmla="*/ 1772 h 6695"/>
                  <a:gd name="T68" fmla="*/ 3029 w 6696"/>
                  <a:gd name="T69" fmla="*/ 1688 h 6695"/>
                  <a:gd name="T70" fmla="*/ 3349 w 6696"/>
                  <a:gd name="T71" fmla="*/ 1666 h 6695"/>
                  <a:gd name="T72" fmla="*/ 3731 w 6696"/>
                  <a:gd name="T73" fmla="*/ 1698 h 6695"/>
                  <a:gd name="T74" fmla="*/ 4099 w 6696"/>
                  <a:gd name="T75" fmla="*/ 1790 h 6695"/>
                  <a:gd name="T76" fmla="*/ 4449 w 6696"/>
                  <a:gd name="T77" fmla="*/ 1930 h 6695"/>
                  <a:gd name="T78" fmla="*/ 5088 w 6696"/>
                  <a:gd name="T79" fmla="*/ 2304 h 6695"/>
                  <a:gd name="T80" fmla="*/ 5614 w 6696"/>
                  <a:gd name="T81" fmla="*/ 2732 h 6695"/>
                  <a:gd name="T82" fmla="*/ 6052 w 6696"/>
                  <a:gd name="T83" fmla="*/ 3174 h 6695"/>
                  <a:gd name="T84" fmla="*/ 286 w 6696"/>
                  <a:gd name="T85" fmla="*/ 3541 h 6695"/>
                  <a:gd name="T86" fmla="*/ 832 w 6696"/>
                  <a:gd name="T87" fmla="*/ 4123 h 6695"/>
                  <a:gd name="T88" fmla="*/ 1180 w 6696"/>
                  <a:gd name="T89" fmla="*/ 4427 h 6695"/>
                  <a:gd name="T90" fmla="*/ 1602 w 6696"/>
                  <a:gd name="T91" fmla="*/ 4733 h 6695"/>
                  <a:gd name="T92" fmla="*/ 2027 w 6696"/>
                  <a:gd name="T93" fmla="*/ 4977 h 6695"/>
                  <a:gd name="T94" fmla="*/ 2451 w 6696"/>
                  <a:gd name="T95" fmla="*/ 5155 h 6695"/>
                  <a:gd name="T96" fmla="*/ 2869 w 6696"/>
                  <a:gd name="T97" fmla="*/ 5267 h 6695"/>
                  <a:gd name="T98" fmla="*/ 3281 w 6696"/>
                  <a:gd name="T99" fmla="*/ 5313 h 6695"/>
                  <a:gd name="T100" fmla="*/ 3621 w 6696"/>
                  <a:gd name="T101" fmla="*/ 5299 h 6695"/>
                  <a:gd name="T102" fmla="*/ 4035 w 6696"/>
                  <a:gd name="T103" fmla="*/ 5219 h 6695"/>
                  <a:gd name="T104" fmla="*/ 4457 w 6696"/>
                  <a:gd name="T105" fmla="*/ 5073 h 6695"/>
                  <a:gd name="T106" fmla="*/ 4881 w 6696"/>
                  <a:gd name="T107" fmla="*/ 4863 h 6695"/>
                  <a:gd name="T108" fmla="*/ 5306 w 6696"/>
                  <a:gd name="T109" fmla="*/ 4587 h 6695"/>
                  <a:gd name="T110" fmla="*/ 5660 w 6696"/>
                  <a:gd name="T111" fmla="*/ 4307 h 6695"/>
                  <a:gd name="T112" fmla="*/ 6196 w 6696"/>
                  <a:gd name="T113" fmla="*/ 3787 h 66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696" h="6695">
                    <a:moveTo>
                      <a:pt x="0" y="0"/>
                    </a:moveTo>
                    <a:lnTo>
                      <a:pt x="0" y="6695"/>
                    </a:lnTo>
                    <a:lnTo>
                      <a:pt x="6696" y="6695"/>
                    </a:lnTo>
                    <a:lnTo>
                      <a:pt x="6696" y="0"/>
                    </a:lnTo>
                    <a:lnTo>
                      <a:pt x="0" y="0"/>
                    </a:lnTo>
                    <a:close/>
                    <a:moveTo>
                      <a:pt x="6412" y="286"/>
                    </a:moveTo>
                    <a:lnTo>
                      <a:pt x="6412" y="3154"/>
                    </a:lnTo>
                    <a:lnTo>
                      <a:pt x="6412" y="3154"/>
                    </a:lnTo>
                    <a:lnTo>
                      <a:pt x="6354" y="3084"/>
                    </a:lnTo>
                    <a:lnTo>
                      <a:pt x="6282" y="3002"/>
                    </a:lnTo>
                    <a:lnTo>
                      <a:pt x="6196" y="2906"/>
                    </a:lnTo>
                    <a:lnTo>
                      <a:pt x="6098" y="2802"/>
                    </a:lnTo>
                    <a:lnTo>
                      <a:pt x="5988" y="2690"/>
                    </a:lnTo>
                    <a:lnTo>
                      <a:pt x="5864" y="2572"/>
                    </a:lnTo>
                    <a:lnTo>
                      <a:pt x="5800" y="2512"/>
                    </a:lnTo>
                    <a:lnTo>
                      <a:pt x="5730" y="2450"/>
                    </a:lnTo>
                    <a:lnTo>
                      <a:pt x="5660" y="2388"/>
                    </a:lnTo>
                    <a:lnTo>
                      <a:pt x="5586" y="2326"/>
                    </a:lnTo>
                    <a:lnTo>
                      <a:pt x="5586" y="2326"/>
                    </a:lnTo>
                    <a:lnTo>
                      <a:pt x="5516" y="2268"/>
                    </a:lnTo>
                    <a:lnTo>
                      <a:pt x="5446" y="2212"/>
                    </a:lnTo>
                    <a:lnTo>
                      <a:pt x="5376" y="2160"/>
                    </a:lnTo>
                    <a:lnTo>
                      <a:pt x="5306" y="2108"/>
                    </a:lnTo>
                    <a:lnTo>
                      <a:pt x="5234" y="2058"/>
                    </a:lnTo>
                    <a:lnTo>
                      <a:pt x="5164" y="2008"/>
                    </a:lnTo>
                    <a:lnTo>
                      <a:pt x="5094" y="1962"/>
                    </a:lnTo>
                    <a:lnTo>
                      <a:pt x="5024" y="1916"/>
                    </a:lnTo>
                    <a:lnTo>
                      <a:pt x="4951" y="1874"/>
                    </a:lnTo>
                    <a:lnTo>
                      <a:pt x="4881" y="1832"/>
                    </a:lnTo>
                    <a:lnTo>
                      <a:pt x="4811" y="1792"/>
                    </a:lnTo>
                    <a:lnTo>
                      <a:pt x="4739" y="1754"/>
                    </a:lnTo>
                    <a:lnTo>
                      <a:pt x="4669" y="1718"/>
                    </a:lnTo>
                    <a:lnTo>
                      <a:pt x="4599" y="1684"/>
                    </a:lnTo>
                    <a:lnTo>
                      <a:pt x="4527" y="1652"/>
                    </a:lnTo>
                    <a:lnTo>
                      <a:pt x="4457" y="1620"/>
                    </a:lnTo>
                    <a:lnTo>
                      <a:pt x="4387" y="1592"/>
                    </a:lnTo>
                    <a:lnTo>
                      <a:pt x="4315" y="1564"/>
                    </a:lnTo>
                    <a:lnTo>
                      <a:pt x="4245" y="1540"/>
                    </a:lnTo>
                    <a:lnTo>
                      <a:pt x="4175" y="1516"/>
                    </a:lnTo>
                    <a:lnTo>
                      <a:pt x="4105" y="1494"/>
                    </a:lnTo>
                    <a:lnTo>
                      <a:pt x="4035" y="1474"/>
                    </a:lnTo>
                    <a:lnTo>
                      <a:pt x="3965" y="1456"/>
                    </a:lnTo>
                    <a:lnTo>
                      <a:pt x="3897" y="1440"/>
                    </a:lnTo>
                    <a:lnTo>
                      <a:pt x="3827" y="1426"/>
                    </a:lnTo>
                    <a:lnTo>
                      <a:pt x="3757" y="1414"/>
                    </a:lnTo>
                    <a:lnTo>
                      <a:pt x="3689" y="1404"/>
                    </a:lnTo>
                    <a:lnTo>
                      <a:pt x="3621" y="1396"/>
                    </a:lnTo>
                    <a:lnTo>
                      <a:pt x="3551" y="1388"/>
                    </a:lnTo>
                    <a:lnTo>
                      <a:pt x="3483" y="1384"/>
                    </a:lnTo>
                    <a:lnTo>
                      <a:pt x="3415" y="1380"/>
                    </a:lnTo>
                    <a:lnTo>
                      <a:pt x="3349" y="1380"/>
                    </a:lnTo>
                    <a:lnTo>
                      <a:pt x="3349" y="1380"/>
                    </a:lnTo>
                    <a:lnTo>
                      <a:pt x="3281" y="1380"/>
                    </a:lnTo>
                    <a:lnTo>
                      <a:pt x="3213" y="1384"/>
                    </a:lnTo>
                    <a:lnTo>
                      <a:pt x="3145" y="1388"/>
                    </a:lnTo>
                    <a:lnTo>
                      <a:pt x="3077" y="1396"/>
                    </a:lnTo>
                    <a:lnTo>
                      <a:pt x="3007" y="1404"/>
                    </a:lnTo>
                    <a:lnTo>
                      <a:pt x="2939" y="1414"/>
                    </a:lnTo>
                    <a:lnTo>
                      <a:pt x="2869" y="1426"/>
                    </a:lnTo>
                    <a:lnTo>
                      <a:pt x="2801" y="1440"/>
                    </a:lnTo>
                    <a:lnTo>
                      <a:pt x="2731" y="1456"/>
                    </a:lnTo>
                    <a:lnTo>
                      <a:pt x="2661" y="1474"/>
                    </a:lnTo>
                    <a:lnTo>
                      <a:pt x="2591" y="1494"/>
                    </a:lnTo>
                    <a:lnTo>
                      <a:pt x="2521" y="1516"/>
                    </a:lnTo>
                    <a:lnTo>
                      <a:pt x="2451" y="1540"/>
                    </a:lnTo>
                    <a:lnTo>
                      <a:pt x="2381" y="1564"/>
                    </a:lnTo>
                    <a:lnTo>
                      <a:pt x="2311" y="1592"/>
                    </a:lnTo>
                    <a:lnTo>
                      <a:pt x="2239" y="1620"/>
                    </a:lnTo>
                    <a:lnTo>
                      <a:pt x="2169" y="1652"/>
                    </a:lnTo>
                    <a:lnTo>
                      <a:pt x="2099" y="1684"/>
                    </a:lnTo>
                    <a:lnTo>
                      <a:pt x="2027" y="1718"/>
                    </a:lnTo>
                    <a:lnTo>
                      <a:pt x="1957" y="1754"/>
                    </a:lnTo>
                    <a:lnTo>
                      <a:pt x="1887" y="1792"/>
                    </a:lnTo>
                    <a:lnTo>
                      <a:pt x="1815" y="1832"/>
                    </a:lnTo>
                    <a:lnTo>
                      <a:pt x="1745" y="1874"/>
                    </a:lnTo>
                    <a:lnTo>
                      <a:pt x="1675" y="1916"/>
                    </a:lnTo>
                    <a:lnTo>
                      <a:pt x="1602" y="1962"/>
                    </a:lnTo>
                    <a:lnTo>
                      <a:pt x="1532" y="2008"/>
                    </a:lnTo>
                    <a:lnTo>
                      <a:pt x="1462" y="2058"/>
                    </a:lnTo>
                    <a:lnTo>
                      <a:pt x="1392" y="2108"/>
                    </a:lnTo>
                    <a:lnTo>
                      <a:pt x="1320" y="2160"/>
                    </a:lnTo>
                    <a:lnTo>
                      <a:pt x="1250" y="2212"/>
                    </a:lnTo>
                    <a:lnTo>
                      <a:pt x="1180" y="2268"/>
                    </a:lnTo>
                    <a:lnTo>
                      <a:pt x="1110" y="2326"/>
                    </a:lnTo>
                    <a:lnTo>
                      <a:pt x="1110" y="2326"/>
                    </a:lnTo>
                    <a:lnTo>
                      <a:pt x="1036" y="2388"/>
                    </a:lnTo>
                    <a:lnTo>
                      <a:pt x="966" y="2450"/>
                    </a:lnTo>
                    <a:lnTo>
                      <a:pt x="898" y="2512"/>
                    </a:lnTo>
                    <a:lnTo>
                      <a:pt x="832" y="2572"/>
                    </a:lnTo>
                    <a:lnTo>
                      <a:pt x="708" y="2690"/>
                    </a:lnTo>
                    <a:lnTo>
                      <a:pt x="598" y="2802"/>
                    </a:lnTo>
                    <a:lnTo>
                      <a:pt x="500" y="2906"/>
                    </a:lnTo>
                    <a:lnTo>
                      <a:pt x="414" y="3002"/>
                    </a:lnTo>
                    <a:lnTo>
                      <a:pt x="342" y="3084"/>
                    </a:lnTo>
                    <a:lnTo>
                      <a:pt x="286" y="3154"/>
                    </a:lnTo>
                    <a:lnTo>
                      <a:pt x="286" y="286"/>
                    </a:lnTo>
                    <a:lnTo>
                      <a:pt x="6412" y="286"/>
                    </a:lnTo>
                    <a:close/>
                    <a:moveTo>
                      <a:pt x="6200" y="3348"/>
                    </a:moveTo>
                    <a:lnTo>
                      <a:pt x="6200" y="3348"/>
                    </a:lnTo>
                    <a:lnTo>
                      <a:pt x="6136" y="3423"/>
                    </a:lnTo>
                    <a:lnTo>
                      <a:pt x="6052" y="3521"/>
                    </a:lnTo>
                    <a:lnTo>
                      <a:pt x="5948" y="3633"/>
                    </a:lnTo>
                    <a:lnTo>
                      <a:pt x="5890" y="3695"/>
                    </a:lnTo>
                    <a:lnTo>
                      <a:pt x="5826" y="3759"/>
                    </a:lnTo>
                    <a:lnTo>
                      <a:pt x="5760" y="3825"/>
                    </a:lnTo>
                    <a:lnTo>
                      <a:pt x="5688" y="3893"/>
                    </a:lnTo>
                    <a:lnTo>
                      <a:pt x="5614" y="3963"/>
                    </a:lnTo>
                    <a:lnTo>
                      <a:pt x="5534" y="4035"/>
                    </a:lnTo>
                    <a:lnTo>
                      <a:pt x="5452" y="4105"/>
                    </a:lnTo>
                    <a:lnTo>
                      <a:pt x="5366" y="4177"/>
                    </a:lnTo>
                    <a:lnTo>
                      <a:pt x="5276" y="4249"/>
                    </a:lnTo>
                    <a:lnTo>
                      <a:pt x="5184" y="4321"/>
                    </a:lnTo>
                    <a:lnTo>
                      <a:pt x="5088" y="4391"/>
                    </a:lnTo>
                    <a:lnTo>
                      <a:pt x="4987" y="4459"/>
                    </a:lnTo>
                    <a:lnTo>
                      <a:pt x="4885" y="4525"/>
                    </a:lnTo>
                    <a:lnTo>
                      <a:pt x="4781" y="4589"/>
                    </a:lnTo>
                    <a:lnTo>
                      <a:pt x="4673" y="4651"/>
                    </a:lnTo>
                    <a:lnTo>
                      <a:pt x="4563" y="4711"/>
                    </a:lnTo>
                    <a:lnTo>
                      <a:pt x="4449" y="4765"/>
                    </a:lnTo>
                    <a:lnTo>
                      <a:pt x="4393" y="4791"/>
                    </a:lnTo>
                    <a:lnTo>
                      <a:pt x="4335" y="4815"/>
                    </a:lnTo>
                    <a:lnTo>
                      <a:pt x="4277" y="4839"/>
                    </a:lnTo>
                    <a:lnTo>
                      <a:pt x="4217" y="4863"/>
                    </a:lnTo>
                    <a:lnTo>
                      <a:pt x="4159" y="4883"/>
                    </a:lnTo>
                    <a:lnTo>
                      <a:pt x="4099" y="4905"/>
                    </a:lnTo>
                    <a:lnTo>
                      <a:pt x="4039" y="4923"/>
                    </a:lnTo>
                    <a:lnTo>
                      <a:pt x="3977" y="4941"/>
                    </a:lnTo>
                    <a:lnTo>
                      <a:pt x="3917" y="4957"/>
                    </a:lnTo>
                    <a:lnTo>
                      <a:pt x="3855" y="4971"/>
                    </a:lnTo>
                    <a:lnTo>
                      <a:pt x="3793" y="4985"/>
                    </a:lnTo>
                    <a:lnTo>
                      <a:pt x="3731" y="4995"/>
                    </a:lnTo>
                    <a:lnTo>
                      <a:pt x="3667" y="5005"/>
                    </a:lnTo>
                    <a:lnTo>
                      <a:pt x="3605" y="5015"/>
                    </a:lnTo>
                    <a:lnTo>
                      <a:pt x="3541" y="5021"/>
                    </a:lnTo>
                    <a:lnTo>
                      <a:pt x="3477" y="5025"/>
                    </a:lnTo>
                    <a:lnTo>
                      <a:pt x="3413" y="5029"/>
                    </a:lnTo>
                    <a:lnTo>
                      <a:pt x="3349" y="5029"/>
                    </a:lnTo>
                    <a:lnTo>
                      <a:pt x="3349" y="5029"/>
                    </a:lnTo>
                    <a:lnTo>
                      <a:pt x="3283" y="5029"/>
                    </a:lnTo>
                    <a:lnTo>
                      <a:pt x="3219" y="5025"/>
                    </a:lnTo>
                    <a:lnTo>
                      <a:pt x="3155" y="5021"/>
                    </a:lnTo>
                    <a:lnTo>
                      <a:pt x="3093" y="5015"/>
                    </a:lnTo>
                    <a:lnTo>
                      <a:pt x="3029" y="5005"/>
                    </a:lnTo>
                    <a:lnTo>
                      <a:pt x="2965" y="4995"/>
                    </a:lnTo>
                    <a:lnTo>
                      <a:pt x="2903" y="4985"/>
                    </a:lnTo>
                    <a:lnTo>
                      <a:pt x="2841" y="4971"/>
                    </a:lnTo>
                    <a:lnTo>
                      <a:pt x="2779" y="4957"/>
                    </a:lnTo>
                    <a:lnTo>
                      <a:pt x="2719" y="4941"/>
                    </a:lnTo>
                    <a:lnTo>
                      <a:pt x="2657" y="4923"/>
                    </a:lnTo>
                    <a:lnTo>
                      <a:pt x="2597" y="4905"/>
                    </a:lnTo>
                    <a:lnTo>
                      <a:pt x="2537" y="4883"/>
                    </a:lnTo>
                    <a:lnTo>
                      <a:pt x="2479" y="4863"/>
                    </a:lnTo>
                    <a:lnTo>
                      <a:pt x="2419" y="4839"/>
                    </a:lnTo>
                    <a:lnTo>
                      <a:pt x="2361" y="4815"/>
                    </a:lnTo>
                    <a:lnTo>
                      <a:pt x="2303" y="4791"/>
                    </a:lnTo>
                    <a:lnTo>
                      <a:pt x="2247" y="4765"/>
                    </a:lnTo>
                    <a:lnTo>
                      <a:pt x="2133" y="4709"/>
                    </a:lnTo>
                    <a:lnTo>
                      <a:pt x="2023" y="4651"/>
                    </a:lnTo>
                    <a:lnTo>
                      <a:pt x="1917" y="4589"/>
                    </a:lnTo>
                    <a:lnTo>
                      <a:pt x="1811" y="4525"/>
                    </a:lnTo>
                    <a:lnTo>
                      <a:pt x="1709" y="4459"/>
                    </a:lnTo>
                    <a:lnTo>
                      <a:pt x="1608" y="4391"/>
                    </a:lnTo>
                    <a:lnTo>
                      <a:pt x="1512" y="4321"/>
                    </a:lnTo>
                    <a:lnTo>
                      <a:pt x="1420" y="4249"/>
                    </a:lnTo>
                    <a:lnTo>
                      <a:pt x="1330" y="4177"/>
                    </a:lnTo>
                    <a:lnTo>
                      <a:pt x="1244" y="4105"/>
                    </a:lnTo>
                    <a:lnTo>
                      <a:pt x="1162" y="4035"/>
                    </a:lnTo>
                    <a:lnTo>
                      <a:pt x="1082" y="3963"/>
                    </a:lnTo>
                    <a:lnTo>
                      <a:pt x="1008" y="3893"/>
                    </a:lnTo>
                    <a:lnTo>
                      <a:pt x="936" y="3825"/>
                    </a:lnTo>
                    <a:lnTo>
                      <a:pt x="870" y="3759"/>
                    </a:lnTo>
                    <a:lnTo>
                      <a:pt x="806" y="3695"/>
                    </a:lnTo>
                    <a:lnTo>
                      <a:pt x="748" y="3633"/>
                    </a:lnTo>
                    <a:lnTo>
                      <a:pt x="644" y="3521"/>
                    </a:lnTo>
                    <a:lnTo>
                      <a:pt x="560" y="3423"/>
                    </a:lnTo>
                    <a:lnTo>
                      <a:pt x="496" y="3348"/>
                    </a:lnTo>
                    <a:lnTo>
                      <a:pt x="496" y="3348"/>
                    </a:lnTo>
                    <a:lnTo>
                      <a:pt x="560" y="3270"/>
                    </a:lnTo>
                    <a:lnTo>
                      <a:pt x="644" y="3174"/>
                    </a:lnTo>
                    <a:lnTo>
                      <a:pt x="748" y="3062"/>
                    </a:lnTo>
                    <a:lnTo>
                      <a:pt x="806" y="3000"/>
                    </a:lnTo>
                    <a:lnTo>
                      <a:pt x="868" y="2936"/>
                    </a:lnTo>
                    <a:lnTo>
                      <a:pt x="936" y="2870"/>
                    </a:lnTo>
                    <a:lnTo>
                      <a:pt x="1006" y="2800"/>
                    </a:lnTo>
                    <a:lnTo>
                      <a:pt x="1082" y="2732"/>
                    </a:lnTo>
                    <a:lnTo>
                      <a:pt x="1160" y="2660"/>
                    </a:lnTo>
                    <a:lnTo>
                      <a:pt x="1244" y="2588"/>
                    </a:lnTo>
                    <a:lnTo>
                      <a:pt x="1330" y="2516"/>
                    </a:lnTo>
                    <a:lnTo>
                      <a:pt x="1418" y="2446"/>
                    </a:lnTo>
                    <a:lnTo>
                      <a:pt x="1512" y="2374"/>
                    </a:lnTo>
                    <a:lnTo>
                      <a:pt x="1608" y="2304"/>
                    </a:lnTo>
                    <a:lnTo>
                      <a:pt x="1709" y="2236"/>
                    </a:lnTo>
                    <a:lnTo>
                      <a:pt x="1811" y="2168"/>
                    </a:lnTo>
                    <a:lnTo>
                      <a:pt x="1915" y="2104"/>
                    </a:lnTo>
                    <a:lnTo>
                      <a:pt x="2023" y="2042"/>
                    </a:lnTo>
                    <a:lnTo>
                      <a:pt x="2133" y="1984"/>
                    </a:lnTo>
                    <a:lnTo>
                      <a:pt x="2245" y="1930"/>
                    </a:lnTo>
                    <a:lnTo>
                      <a:pt x="2303" y="1904"/>
                    </a:lnTo>
                    <a:lnTo>
                      <a:pt x="2361" y="1878"/>
                    </a:lnTo>
                    <a:lnTo>
                      <a:pt x="2419" y="1854"/>
                    </a:lnTo>
                    <a:lnTo>
                      <a:pt x="2477" y="1832"/>
                    </a:lnTo>
                    <a:lnTo>
                      <a:pt x="2537" y="1810"/>
                    </a:lnTo>
                    <a:lnTo>
                      <a:pt x="2597" y="1790"/>
                    </a:lnTo>
                    <a:lnTo>
                      <a:pt x="2657" y="1772"/>
                    </a:lnTo>
                    <a:lnTo>
                      <a:pt x="2717" y="1754"/>
                    </a:lnTo>
                    <a:lnTo>
                      <a:pt x="2779" y="1738"/>
                    </a:lnTo>
                    <a:lnTo>
                      <a:pt x="2841" y="1724"/>
                    </a:lnTo>
                    <a:lnTo>
                      <a:pt x="2903" y="1710"/>
                    </a:lnTo>
                    <a:lnTo>
                      <a:pt x="2965" y="1698"/>
                    </a:lnTo>
                    <a:lnTo>
                      <a:pt x="3029" y="1688"/>
                    </a:lnTo>
                    <a:lnTo>
                      <a:pt x="3091" y="1680"/>
                    </a:lnTo>
                    <a:lnTo>
                      <a:pt x="3155" y="1674"/>
                    </a:lnTo>
                    <a:lnTo>
                      <a:pt x="3219" y="1670"/>
                    </a:lnTo>
                    <a:lnTo>
                      <a:pt x="3283" y="1666"/>
                    </a:lnTo>
                    <a:lnTo>
                      <a:pt x="3349" y="1666"/>
                    </a:lnTo>
                    <a:lnTo>
                      <a:pt x="3349" y="1666"/>
                    </a:lnTo>
                    <a:lnTo>
                      <a:pt x="3413" y="1666"/>
                    </a:lnTo>
                    <a:lnTo>
                      <a:pt x="3477" y="1670"/>
                    </a:lnTo>
                    <a:lnTo>
                      <a:pt x="3541" y="1674"/>
                    </a:lnTo>
                    <a:lnTo>
                      <a:pt x="3605" y="1680"/>
                    </a:lnTo>
                    <a:lnTo>
                      <a:pt x="3667" y="1688"/>
                    </a:lnTo>
                    <a:lnTo>
                      <a:pt x="3731" y="1698"/>
                    </a:lnTo>
                    <a:lnTo>
                      <a:pt x="3793" y="1710"/>
                    </a:lnTo>
                    <a:lnTo>
                      <a:pt x="3855" y="1724"/>
                    </a:lnTo>
                    <a:lnTo>
                      <a:pt x="3917" y="1738"/>
                    </a:lnTo>
                    <a:lnTo>
                      <a:pt x="3977" y="1754"/>
                    </a:lnTo>
                    <a:lnTo>
                      <a:pt x="4039" y="1772"/>
                    </a:lnTo>
                    <a:lnTo>
                      <a:pt x="4099" y="1790"/>
                    </a:lnTo>
                    <a:lnTo>
                      <a:pt x="4159" y="1810"/>
                    </a:lnTo>
                    <a:lnTo>
                      <a:pt x="4217" y="1832"/>
                    </a:lnTo>
                    <a:lnTo>
                      <a:pt x="4277" y="1854"/>
                    </a:lnTo>
                    <a:lnTo>
                      <a:pt x="4335" y="1878"/>
                    </a:lnTo>
                    <a:lnTo>
                      <a:pt x="4393" y="1904"/>
                    </a:lnTo>
                    <a:lnTo>
                      <a:pt x="4449" y="1930"/>
                    </a:lnTo>
                    <a:lnTo>
                      <a:pt x="4563" y="1984"/>
                    </a:lnTo>
                    <a:lnTo>
                      <a:pt x="4673" y="2042"/>
                    </a:lnTo>
                    <a:lnTo>
                      <a:pt x="4781" y="2104"/>
                    </a:lnTo>
                    <a:lnTo>
                      <a:pt x="4885" y="2168"/>
                    </a:lnTo>
                    <a:lnTo>
                      <a:pt x="4987" y="2236"/>
                    </a:lnTo>
                    <a:lnTo>
                      <a:pt x="5088" y="2304"/>
                    </a:lnTo>
                    <a:lnTo>
                      <a:pt x="5184" y="2374"/>
                    </a:lnTo>
                    <a:lnTo>
                      <a:pt x="5276" y="2446"/>
                    </a:lnTo>
                    <a:lnTo>
                      <a:pt x="5366" y="2516"/>
                    </a:lnTo>
                    <a:lnTo>
                      <a:pt x="5452" y="2588"/>
                    </a:lnTo>
                    <a:lnTo>
                      <a:pt x="5534" y="2660"/>
                    </a:lnTo>
                    <a:lnTo>
                      <a:pt x="5614" y="2732"/>
                    </a:lnTo>
                    <a:lnTo>
                      <a:pt x="5688" y="2802"/>
                    </a:lnTo>
                    <a:lnTo>
                      <a:pt x="5760" y="2870"/>
                    </a:lnTo>
                    <a:lnTo>
                      <a:pt x="5826" y="2936"/>
                    </a:lnTo>
                    <a:lnTo>
                      <a:pt x="5890" y="3000"/>
                    </a:lnTo>
                    <a:lnTo>
                      <a:pt x="5948" y="3062"/>
                    </a:lnTo>
                    <a:lnTo>
                      <a:pt x="6052" y="3174"/>
                    </a:lnTo>
                    <a:lnTo>
                      <a:pt x="6136" y="3270"/>
                    </a:lnTo>
                    <a:lnTo>
                      <a:pt x="6200" y="3348"/>
                    </a:lnTo>
                    <a:lnTo>
                      <a:pt x="6200" y="3348"/>
                    </a:lnTo>
                    <a:close/>
                    <a:moveTo>
                      <a:pt x="286" y="6409"/>
                    </a:moveTo>
                    <a:lnTo>
                      <a:pt x="286" y="3541"/>
                    </a:lnTo>
                    <a:lnTo>
                      <a:pt x="286" y="3541"/>
                    </a:lnTo>
                    <a:lnTo>
                      <a:pt x="342" y="3611"/>
                    </a:lnTo>
                    <a:lnTo>
                      <a:pt x="414" y="3693"/>
                    </a:lnTo>
                    <a:lnTo>
                      <a:pt x="500" y="3787"/>
                    </a:lnTo>
                    <a:lnTo>
                      <a:pt x="598" y="3891"/>
                    </a:lnTo>
                    <a:lnTo>
                      <a:pt x="708" y="4005"/>
                    </a:lnTo>
                    <a:lnTo>
                      <a:pt x="832" y="4123"/>
                    </a:lnTo>
                    <a:lnTo>
                      <a:pt x="898" y="4183"/>
                    </a:lnTo>
                    <a:lnTo>
                      <a:pt x="966" y="4245"/>
                    </a:lnTo>
                    <a:lnTo>
                      <a:pt x="1036" y="4307"/>
                    </a:lnTo>
                    <a:lnTo>
                      <a:pt x="1110" y="4369"/>
                    </a:lnTo>
                    <a:lnTo>
                      <a:pt x="1110" y="4369"/>
                    </a:lnTo>
                    <a:lnTo>
                      <a:pt x="1180" y="4427"/>
                    </a:lnTo>
                    <a:lnTo>
                      <a:pt x="1250" y="4481"/>
                    </a:lnTo>
                    <a:lnTo>
                      <a:pt x="1320" y="4535"/>
                    </a:lnTo>
                    <a:lnTo>
                      <a:pt x="1392" y="4587"/>
                    </a:lnTo>
                    <a:lnTo>
                      <a:pt x="1462" y="4637"/>
                    </a:lnTo>
                    <a:lnTo>
                      <a:pt x="1532" y="4685"/>
                    </a:lnTo>
                    <a:lnTo>
                      <a:pt x="1602" y="4733"/>
                    </a:lnTo>
                    <a:lnTo>
                      <a:pt x="1675" y="4777"/>
                    </a:lnTo>
                    <a:lnTo>
                      <a:pt x="1745" y="4821"/>
                    </a:lnTo>
                    <a:lnTo>
                      <a:pt x="1815" y="4863"/>
                    </a:lnTo>
                    <a:lnTo>
                      <a:pt x="1887" y="4903"/>
                    </a:lnTo>
                    <a:lnTo>
                      <a:pt x="1957" y="4941"/>
                    </a:lnTo>
                    <a:lnTo>
                      <a:pt x="2027" y="4977"/>
                    </a:lnTo>
                    <a:lnTo>
                      <a:pt x="2099" y="5011"/>
                    </a:lnTo>
                    <a:lnTo>
                      <a:pt x="2169" y="5043"/>
                    </a:lnTo>
                    <a:lnTo>
                      <a:pt x="2239" y="5073"/>
                    </a:lnTo>
                    <a:lnTo>
                      <a:pt x="2311" y="5103"/>
                    </a:lnTo>
                    <a:lnTo>
                      <a:pt x="2381" y="5129"/>
                    </a:lnTo>
                    <a:lnTo>
                      <a:pt x="2451" y="5155"/>
                    </a:lnTo>
                    <a:lnTo>
                      <a:pt x="2521" y="5179"/>
                    </a:lnTo>
                    <a:lnTo>
                      <a:pt x="2591" y="5201"/>
                    </a:lnTo>
                    <a:lnTo>
                      <a:pt x="2661" y="5219"/>
                    </a:lnTo>
                    <a:lnTo>
                      <a:pt x="2731" y="5237"/>
                    </a:lnTo>
                    <a:lnTo>
                      <a:pt x="2801" y="5253"/>
                    </a:lnTo>
                    <a:lnTo>
                      <a:pt x="2869" y="5267"/>
                    </a:lnTo>
                    <a:lnTo>
                      <a:pt x="2939" y="5281"/>
                    </a:lnTo>
                    <a:lnTo>
                      <a:pt x="3007" y="5291"/>
                    </a:lnTo>
                    <a:lnTo>
                      <a:pt x="3077" y="5299"/>
                    </a:lnTo>
                    <a:lnTo>
                      <a:pt x="3145" y="5305"/>
                    </a:lnTo>
                    <a:lnTo>
                      <a:pt x="3213" y="5311"/>
                    </a:lnTo>
                    <a:lnTo>
                      <a:pt x="3281" y="5313"/>
                    </a:lnTo>
                    <a:lnTo>
                      <a:pt x="3349" y="5315"/>
                    </a:lnTo>
                    <a:lnTo>
                      <a:pt x="3349" y="5315"/>
                    </a:lnTo>
                    <a:lnTo>
                      <a:pt x="3415" y="5313"/>
                    </a:lnTo>
                    <a:lnTo>
                      <a:pt x="3483" y="5311"/>
                    </a:lnTo>
                    <a:lnTo>
                      <a:pt x="3551" y="5305"/>
                    </a:lnTo>
                    <a:lnTo>
                      <a:pt x="3621" y="5299"/>
                    </a:lnTo>
                    <a:lnTo>
                      <a:pt x="3689" y="5291"/>
                    </a:lnTo>
                    <a:lnTo>
                      <a:pt x="3757" y="5281"/>
                    </a:lnTo>
                    <a:lnTo>
                      <a:pt x="3827" y="5267"/>
                    </a:lnTo>
                    <a:lnTo>
                      <a:pt x="3897" y="5253"/>
                    </a:lnTo>
                    <a:lnTo>
                      <a:pt x="3965" y="5237"/>
                    </a:lnTo>
                    <a:lnTo>
                      <a:pt x="4035" y="5219"/>
                    </a:lnTo>
                    <a:lnTo>
                      <a:pt x="4105" y="5201"/>
                    </a:lnTo>
                    <a:lnTo>
                      <a:pt x="4175" y="5179"/>
                    </a:lnTo>
                    <a:lnTo>
                      <a:pt x="4245" y="5155"/>
                    </a:lnTo>
                    <a:lnTo>
                      <a:pt x="4315" y="5129"/>
                    </a:lnTo>
                    <a:lnTo>
                      <a:pt x="4387" y="5103"/>
                    </a:lnTo>
                    <a:lnTo>
                      <a:pt x="4457" y="5073"/>
                    </a:lnTo>
                    <a:lnTo>
                      <a:pt x="4527" y="5043"/>
                    </a:lnTo>
                    <a:lnTo>
                      <a:pt x="4599" y="5011"/>
                    </a:lnTo>
                    <a:lnTo>
                      <a:pt x="4669" y="4977"/>
                    </a:lnTo>
                    <a:lnTo>
                      <a:pt x="4739" y="4941"/>
                    </a:lnTo>
                    <a:lnTo>
                      <a:pt x="4811" y="4903"/>
                    </a:lnTo>
                    <a:lnTo>
                      <a:pt x="4881" y="4863"/>
                    </a:lnTo>
                    <a:lnTo>
                      <a:pt x="4951" y="4821"/>
                    </a:lnTo>
                    <a:lnTo>
                      <a:pt x="5024" y="4777"/>
                    </a:lnTo>
                    <a:lnTo>
                      <a:pt x="5094" y="4733"/>
                    </a:lnTo>
                    <a:lnTo>
                      <a:pt x="5164" y="4685"/>
                    </a:lnTo>
                    <a:lnTo>
                      <a:pt x="5234" y="4637"/>
                    </a:lnTo>
                    <a:lnTo>
                      <a:pt x="5306" y="4587"/>
                    </a:lnTo>
                    <a:lnTo>
                      <a:pt x="5376" y="4535"/>
                    </a:lnTo>
                    <a:lnTo>
                      <a:pt x="5446" y="4481"/>
                    </a:lnTo>
                    <a:lnTo>
                      <a:pt x="5516" y="4427"/>
                    </a:lnTo>
                    <a:lnTo>
                      <a:pt x="5586" y="4369"/>
                    </a:lnTo>
                    <a:lnTo>
                      <a:pt x="5586" y="4369"/>
                    </a:lnTo>
                    <a:lnTo>
                      <a:pt x="5660" y="4307"/>
                    </a:lnTo>
                    <a:lnTo>
                      <a:pt x="5730" y="4245"/>
                    </a:lnTo>
                    <a:lnTo>
                      <a:pt x="5800" y="4183"/>
                    </a:lnTo>
                    <a:lnTo>
                      <a:pt x="5864" y="4123"/>
                    </a:lnTo>
                    <a:lnTo>
                      <a:pt x="5988" y="4003"/>
                    </a:lnTo>
                    <a:lnTo>
                      <a:pt x="6098" y="3891"/>
                    </a:lnTo>
                    <a:lnTo>
                      <a:pt x="6196" y="3787"/>
                    </a:lnTo>
                    <a:lnTo>
                      <a:pt x="6282" y="3693"/>
                    </a:lnTo>
                    <a:lnTo>
                      <a:pt x="6354" y="3611"/>
                    </a:lnTo>
                    <a:lnTo>
                      <a:pt x="6412" y="3541"/>
                    </a:lnTo>
                    <a:lnTo>
                      <a:pt x="6412" y="6409"/>
                    </a:lnTo>
                    <a:lnTo>
                      <a:pt x="286" y="640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/>
              </a:p>
            </p:txBody>
          </p:sp>
          <p:sp>
            <p:nvSpPr>
              <p:cNvPr id="6" name="Freeform 18"/>
              <p:cNvSpPr>
                <a:spLocks noEditPoints="1"/>
              </p:cNvSpPr>
              <p:nvPr/>
            </p:nvSpPr>
            <p:spPr bwMode="auto">
              <a:xfrm>
                <a:off x="2843" y="1856"/>
                <a:ext cx="2984" cy="2983"/>
              </a:xfrm>
              <a:custGeom>
                <a:avLst/>
                <a:gdLst>
                  <a:gd name="T0" fmla="*/ 1264 w 2984"/>
                  <a:gd name="T1" fmla="*/ 16 h 2983"/>
                  <a:gd name="T2" fmla="*/ 910 w 2984"/>
                  <a:gd name="T3" fmla="*/ 118 h 2983"/>
                  <a:gd name="T4" fmla="*/ 600 w 2984"/>
                  <a:gd name="T5" fmla="*/ 296 h 2983"/>
                  <a:gd name="T6" fmla="*/ 340 w 2984"/>
                  <a:gd name="T7" fmla="*/ 544 h 2983"/>
                  <a:gd name="T8" fmla="*/ 146 w 2984"/>
                  <a:gd name="T9" fmla="*/ 846 h 2983"/>
                  <a:gd name="T10" fmla="*/ 30 w 2984"/>
                  <a:gd name="T11" fmla="*/ 1192 h 2983"/>
                  <a:gd name="T12" fmla="*/ 0 w 2984"/>
                  <a:gd name="T13" fmla="*/ 1492 h 2983"/>
                  <a:gd name="T14" fmla="*/ 46 w 2984"/>
                  <a:gd name="T15" fmla="*/ 1863 h 2983"/>
                  <a:gd name="T16" fmla="*/ 180 w 2984"/>
                  <a:gd name="T17" fmla="*/ 2201 h 2983"/>
                  <a:gd name="T18" fmla="*/ 388 w 2984"/>
                  <a:gd name="T19" fmla="*/ 2493 h 2983"/>
                  <a:gd name="T20" fmla="*/ 658 w 2984"/>
                  <a:gd name="T21" fmla="*/ 2727 h 2983"/>
                  <a:gd name="T22" fmla="*/ 978 w 2984"/>
                  <a:gd name="T23" fmla="*/ 2893 h 2983"/>
                  <a:gd name="T24" fmla="*/ 1338 w 2984"/>
                  <a:gd name="T25" fmla="*/ 2975 h 2983"/>
                  <a:gd name="T26" fmla="*/ 1644 w 2984"/>
                  <a:gd name="T27" fmla="*/ 2975 h 2983"/>
                  <a:gd name="T28" fmla="*/ 2004 w 2984"/>
                  <a:gd name="T29" fmla="*/ 2893 h 2983"/>
                  <a:gd name="T30" fmla="*/ 2324 w 2984"/>
                  <a:gd name="T31" fmla="*/ 2727 h 2983"/>
                  <a:gd name="T32" fmla="*/ 2596 w 2984"/>
                  <a:gd name="T33" fmla="*/ 2493 h 2983"/>
                  <a:gd name="T34" fmla="*/ 2802 w 2984"/>
                  <a:gd name="T35" fmla="*/ 2201 h 2983"/>
                  <a:gd name="T36" fmla="*/ 2936 w 2984"/>
                  <a:gd name="T37" fmla="*/ 1863 h 2983"/>
                  <a:gd name="T38" fmla="*/ 2984 w 2984"/>
                  <a:gd name="T39" fmla="*/ 1492 h 2983"/>
                  <a:gd name="T40" fmla="*/ 2952 w 2984"/>
                  <a:gd name="T41" fmla="*/ 1192 h 2983"/>
                  <a:gd name="T42" fmla="*/ 2836 w 2984"/>
                  <a:gd name="T43" fmla="*/ 846 h 2983"/>
                  <a:gd name="T44" fmla="*/ 2642 w 2984"/>
                  <a:gd name="T45" fmla="*/ 544 h 2983"/>
                  <a:gd name="T46" fmla="*/ 2384 w 2984"/>
                  <a:gd name="T47" fmla="*/ 296 h 2983"/>
                  <a:gd name="T48" fmla="*/ 2072 w 2984"/>
                  <a:gd name="T49" fmla="*/ 118 h 2983"/>
                  <a:gd name="T50" fmla="*/ 1718 w 2984"/>
                  <a:gd name="T51" fmla="*/ 16 h 2983"/>
                  <a:gd name="T52" fmla="*/ 2688 w 2984"/>
                  <a:gd name="T53" fmla="*/ 1348 h 2983"/>
                  <a:gd name="T54" fmla="*/ 1736 w 2984"/>
                  <a:gd name="T55" fmla="*/ 312 h 2983"/>
                  <a:gd name="T56" fmla="*/ 1976 w 2984"/>
                  <a:gd name="T57" fmla="*/ 388 h 2983"/>
                  <a:gd name="T58" fmla="*/ 2192 w 2984"/>
                  <a:gd name="T59" fmla="*/ 512 h 2983"/>
                  <a:gd name="T60" fmla="*/ 2378 w 2984"/>
                  <a:gd name="T61" fmla="*/ 676 h 2983"/>
                  <a:gd name="T62" fmla="*/ 2526 w 2984"/>
                  <a:gd name="T63" fmla="*/ 874 h 2983"/>
                  <a:gd name="T64" fmla="*/ 2632 w 2984"/>
                  <a:gd name="T65" fmla="*/ 1100 h 2983"/>
                  <a:gd name="T66" fmla="*/ 2688 w 2984"/>
                  <a:gd name="T67" fmla="*/ 1348 h 2983"/>
                  <a:gd name="T68" fmla="*/ 294 w 2984"/>
                  <a:gd name="T69" fmla="*/ 1348 h 2983"/>
                  <a:gd name="T70" fmla="*/ 350 w 2984"/>
                  <a:gd name="T71" fmla="*/ 1100 h 2983"/>
                  <a:gd name="T72" fmla="*/ 456 w 2984"/>
                  <a:gd name="T73" fmla="*/ 874 h 2983"/>
                  <a:gd name="T74" fmla="*/ 604 w 2984"/>
                  <a:gd name="T75" fmla="*/ 676 h 2983"/>
                  <a:gd name="T76" fmla="*/ 790 w 2984"/>
                  <a:gd name="T77" fmla="*/ 512 h 2983"/>
                  <a:gd name="T78" fmla="*/ 1006 w 2984"/>
                  <a:gd name="T79" fmla="*/ 388 h 2983"/>
                  <a:gd name="T80" fmla="*/ 1246 w 2984"/>
                  <a:gd name="T81" fmla="*/ 312 h 2983"/>
                  <a:gd name="T82" fmla="*/ 1348 w 2984"/>
                  <a:gd name="T83" fmla="*/ 1633 h 2983"/>
                  <a:gd name="T84" fmla="*/ 1196 w 2984"/>
                  <a:gd name="T85" fmla="*/ 2661 h 2983"/>
                  <a:gd name="T86" fmla="*/ 960 w 2984"/>
                  <a:gd name="T87" fmla="*/ 2573 h 2983"/>
                  <a:gd name="T88" fmla="*/ 750 w 2984"/>
                  <a:gd name="T89" fmla="*/ 2441 h 2983"/>
                  <a:gd name="T90" fmla="*/ 572 w 2984"/>
                  <a:gd name="T91" fmla="*/ 2271 h 2983"/>
                  <a:gd name="T92" fmla="*/ 432 w 2984"/>
                  <a:gd name="T93" fmla="*/ 2065 h 2983"/>
                  <a:gd name="T94" fmla="*/ 336 w 2984"/>
                  <a:gd name="T95" fmla="*/ 1835 h 2983"/>
                  <a:gd name="T96" fmla="*/ 294 w 2984"/>
                  <a:gd name="T97" fmla="*/ 1633 h 2983"/>
                  <a:gd name="T98" fmla="*/ 2682 w 2984"/>
                  <a:gd name="T99" fmla="*/ 1685 h 2983"/>
                  <a:gd name="T100" fmla="*/ 2614 w 2984"/>
                  <a:gd name="T101" fmla="*/ 1929 h 2983"/>
                  <a:gd name="T102" fmla="*/ 2500 w 2984"/>
                  <a:gd name="T103" fmla="*/ 2151 h 2983"/>
                  <a:gd name="T104" fmla="*/ 2344 w 2984"/>
                  <a:gd name="T105" fmla="*/ 2343 h 2983"/>
                  <a:gd name="T106" fmla="*/ 2152 w 2984"/>
                  <a:gd name="T107" fmla="*/ 2499 h 2983"/>
                  <a:gd name="T108" fmla="*/ 1930 w 2984"/>
                  <a:gd name="T109" fmla="*/ 2613 h 2983"/>
                  <a:gd name="T110" fmla="*/ 1686 w 2984"/>
                  <a:gd name="T111" fmla="*/ 2681 h 29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984" h="2983">
                    <a:moveTo>
                      <a:pt x="1492" y="0"/>
                    </a:moveTo>
                    <a:lnTo>
                      <a:pt x="1492" y="0"/>
                    </a:lnTo>
                    <a:lnTo>
                      <a:pt x="1414" y="2"/>
                    </a:lnTo>
                    <a:lnTo>
                      <a:pt x="1338" y="8"/>
                    </a:lnTo>
                    <a:lnTo>
                      <a:pt x="1264" y="16"/>
                    </a:lnTo>
                    <a:lnTo>
                      <a:pt x="1190" y="30"/>
                    </a:lnTo>
                    <a:lnTo>
                      <a:pt x="1118" y="46"/>
                    </a:lnTo>
                    <a:lnTo>
                      <a:pt x="1048" y="66"/>
                    </a:lnTo>
                    <a:lnTo>
                      <a:pt x="978" y="90"/>
                    </a:lnTo>
                    <a:lnTo>
                      <a:pt x="910" y="118"/>
                    </a:lnTo>
                    <a:lnTo>
                      <a:pt x="844" y="148"/>
                    </a:lnTo>
                    <a:lnTo>
                      <a:pt x="780" y="180"/>
                    </a:lnTo>
                    <a:lnTo>
                      <a:pt x="718" y="216"/>
                    </a:lnTo>
                    <a:lnTo>
                      <a:pt x="658" y="254"/>
                    </a:lnTo>
                    <a:lnTo>
                      <a:pt x="600" y="296"/>
                    </a:lnTo>
                    <a:lnTo>
                      <a:pt x="542" y="340"/>
                    </a:lnTo>
                    <a:lnTo>
                      <a:pt x="488" y="388"/>
                    </a:lnTo>
                    <a:lnTo>
                      <a:pt x="436" y="438"/>
                    </a:lnTo>
                    <a:lnTo>
                      <a:pt x="388" y="490"/>
                    </a:lnTo>
                    <a:lnTo>
                      <a:pt x="340" y="544"/>
                    </a:lnTo>
                    <a:lnTo>
                      <a:pt x="296" y="600"/>
                    </a:lnTo>
                    <a:lnTo>
                      <a:pt x="254" y="658"/>
                    </a:lnTo>
                    <a:lnTo>
                      <a:pt x="216" y="718"/>
                    </a:lnTo>
                    <a:lnTo>
                      <a:pt x="180" y="782"/>
                    </a:lnTo>
                    <a:lnTo>
                      <a:pt x="146" y="846"/>
                    </a:lnTo>
                    <a:lnTo>
                      <a:pt x="116" y="912"/>
                    </a:lnTo>
                    <a:lnTo>
                      <a:pt x="90" y="980"/>
                    </a:lnTo>
                    <a:lnTo>
                      <a:pt x="66" y="1048"/>
                    </a:lnTo>
                    <a:lnTo>
                      <a:pt x="46" y="1120"/>
                    </a:lnTo>
                    <a:lnTo>
                      <a:pt x="30" y="1192"/>
                    </a:lnTo>
                    <a:lnTo>
                      <a:pt x="16" y="1264"/>
                    </a:lnTo>
                    <a:lnTo>
                      <a:pt x="6" y="1340"/>
                    </a:lnTo>
                    <a:lnTo>
                      <a:pt x="2" y="1416"/>
                    </a:lnTo>
                    <a:lnTo>
                      <a:pt x="0" y="1492"/>
                    </a:lnTo>
                    <a:lnTo>
                      <a:pt x="0" y="1492"/>
                    </a:lnTo>
                    <a:lnTo>
                      <a:pt x="2" y="1567"/>
                    </a:lnTo>
                    <a:lnTo>
                      <a:pt x="6" y="1643"/>
                    </a:lnTo>
                    <a:lnTo>
                      <a:pt x="16" y="1717"/>
                    </a:lnTo>
                    <a:lnTo>
                      <a:pt x="30" y="1791"/>
                    </a:lnTo>
                    <a:lnTo>
                      <a:pt x="46" y="1863"/>
                    </a:lnTo>
                    <a:lnTo>
                      <a:pt x="66" y="1933"/>
                    </a:lnTo>
                    <a:lnTo>
                      <a:pt x="90" y="2003"/>
                    </a:lnTo>
                    <a:lnTo>
                      <a:pt x="116" y="2071"/>
                    </a:lnTo>
                    <a:lnTo>
                      <a:pt x="146" y="2137"/>
                    </a:lnTo>
                    <a:lnTo>
                      <a:pt x="180" y="2201"/>
                    </a:lnTo>
                    <a:lnTo>
                      <a:pt x="216" y="2263"/>
                    </a:lnTo>
                    <a:lnTo>
                      <a:pt x="254" y="2325"/>
                    </a:lnTo>
                    <a:lnTo>
                      <a:pt x="296" y="2383"/>
                    </a:lnTo>
                    <a:lnTo>
                      <a:pt x="340" y="2439"/>
                    </a:lnTo>
                    <a:lnTo>
                      <a:pt x="388" y="2493"/>
                    </a:lnTo>
                    <a:lnTo>
                      <a:pt x="436" y="2545"/>
                    </a:lnTo>
                    <a:lnTo>
                      <a:pt x="488" y="2595"/>
                    </a:lnTo>
                    <a:lnTo>
                      <a:pt x="542" y="2641"/>
                    </a:lnTo>
                    <a:lnTo>
                      <a:pt x="600" y="2687"/>
                    </a:lnTo>
                    <a:lnTo>
                      <a:pt x="658" y="2727"/>
                    </a:lnTo>
                    <a:lnTo>
                      <a:pt x="718" y="2767"/>
                    </a:lnTo>
                    <a:lnTo>
                      <a:pt x="780" y="2803"/>
                    </a:lnTo>
                    <a:lnTo>
                      <a:pt x="844" y="2835"/>
                    </a:lnTo>
                    <a:lnTo>
                      <a:pt x="910" y="2865"/>
                    </a:lnTo>
                    <a:lnTo>
                      <a:pt x="978" y="2893"/>
                    </a:lnTo>
                    <a:lnTo>
                      <a:pt x="1048" y="2915"/>
                    </a:lnTo>
                    <a:lnTo>
                      <a:pt x="1118" y="2935"/>
                    </a:lnTo>
                    <a:lnTo>
                      <a:pt x="1190" y="2953"/>
                    </a:lnTo>
                    <a:lnTo>
                      <a:pt x="1264" y="2965"/>
                    </a:lnTo>
                    <a:lnTo>
                      <a:pt x="1338" y="2975"/>
                    </a:lnTo>
                    <a:lnTo>
                      <a:pt x="1414" y="2981"/>
                    </a:lnTo>
                    <a:lnTo>
                      <a:pt x="1492" y="2983"/>
                    </a:lnTo>
                    <a:lnTo>
                      <a:pt x="1492" y="2983"/>
                    </a:lnTo>
                    <a:lnTo>
                      <a:pt x="1568" y="2981"/>
                    </a:lnTo>
                    <a:lnTo>
                      <a:pt x="1644" y="2975"/>
                    </a:lnTo>
                    <a:lnTo>
                      <a:pt x="1718" y="2965"/>
                    </a:lnTo>
                    <a:lnTo>
                      <a:pt x="1792" y="2953"/>
                    </a:lnTo>
                    <a:lnTo>
                      <a:pt x="1864" y="2935"/>
                    </a:lnTo>
                    <a:lnTo>
                      <a:pt x="1934" y="2915"/>
                    </a:lnTo>
                    <a:lnTo>
                      <a:pt x="2004" y="2893"/>
                    </a:lnTo>
                    <a:lnTo>
                      <a:pt x="2072" y="2865"/>
                    </a:lnTo>
                    <a:lnTo>
                      <a:pt x="2138" y="2835"/>
                    </a:lnTo>
                    <a:lnTo>
                      <a:pt x="2202" y="2803"/>
                    </a:lnTo>
                    <a:lnTo>
                      <a:pt x="2264" y="2767"/>
                    </a:lnTo>
                    <a:lnTo>
                      <a:pt x="2324" y="2727"/>
                    </a:lnTo>
                    <a:lnTo>
                      <a:pt x="2384" y="2687"/>
                    </a:lnTo>
                    <a:lnTo>
                      <a:pt x="2440" y="2641"/>
                    </a:lnTo>
                    <a:lnTo>
                      <a:pt x="2494" y="2595"/>
                    </a:lnTo>
                    <a:lnTo>
                      <a:pt x="2546" y="2545"/>
                    </a:lnTo>
                    <a:lnTo>
                      <a:pt x="2596" y="2493"/>
                    </a:lnTo>
                    <a:lnTo>
                      <a:pt x="2642" y="2439"/>
                    </a:lnTo>
                    <a:lnTo>
                      <a:pt x="2686" y="2383"/>
                    </a:lnTo>
                    <a:lnTo>
                      <a:pt x="2728" y="2325"/>
                    </a:lnTo>
                    <a:lnTo>
                      <a:pt x="2766" y="2263"/>
                    </a:lnTo>
                    <a:lnTo>
                      <a:pt x="2802" y="2201"/>
                    </a:lnTo>
                    <a:lnTo>
                      <a:pt x="2836" y="2137"/>
                    </a:lnTo>
                    <a:lnTo>
                      <a:pt x="2866" y="2071"/>
                    </a:lnTo>
                    <a:lnTo>
                      <a:pt x="2892" y="2003"/>
                    </a:lnTo>
                    <a:lnTo>
                      <a:pt x="2916" y="1933"/>
                    </a:lnTo>
                    <a:lnTo>
                      <a:pt x="2936" y="1863"/>
                    </a:lnTo>
                    <a:lnTo>
                      <a:pt x="2952" y="1791"/>
                    </a:lnTo>
                    <a:lnTo>
                      <a:pt x="2966" y="1717"/>
                    </a:lnTo>
                    <a:lnTo>
                      <a:pt x="2976" y="1643"/>
                    </a:lnTo>
                    <a:lnTo>
                      <a:pt x="2982" y="1567"/>
                    </a:lnTo>
                    <a:lnTo>
                      <a:pt x="2984" y="1492"/>
                    </a:lnTo>
                    <a:lnTo>
                      <a:pt x="2984" y="1492"/>
                    </a:lnTo>
                    <a:lnTo>
                      <a:pt x="2982" y="1416"/>
                    </a:lnTo>
                    <a:lnTo>
                      <a:pt x="2976" y="1340"/>
                    </a:lnTo>
                    <a:lnTo>
                      <a:pt x="2966" y="1264"/>
                    </a:lnTo>
                    <a:lnTo>
                      <a:pt x="2952" y="1192"/>
                    </a:lnTo>
                    <a:lnTo>
                      <a:pt x="2936" y="1120"/>
                    </a:lnTo>
                    <a:lnTo>
                      <a:pt x="2916" y="1048"/>
                    </a:lnTo>
                    <a:lnTo>
                      <a:pt x="2892" y="980"/>
                    </a:lnTo>
                    <a:lnTo>
                      <a:pt x="2866" y="912"/>
                    </a:lnTo>
                    <a:lnTo>
                      <a:pt x="2836" y="846"/>
                    </a:lnTo>
                    <a:lnTo>
                      <a:pt x="2802" y="782"/>
                    </a:lnTo>
                    <a:lnTo>
                      <a:pt x="2766" y="718"/>
                    </a:lnTo>
                    <a:lnTo>
                      <a:pt x="2728" y="658"/>
                    </a:lnTo>
                    <a:lnTo>
                      <a:pt x="2686" y="600"/>
                    </a:lnTo>
                    <a:lnTo>
                      <a:pt x="2642" y="544"/>
                    </a:lnTo>
                    <a:lnTo>
                      <a:pt x="2596" y="490"/>
                    </a:lnTo>
                    <a:lnTo>
                      <a:pt x="2546" y="438"/>
                    </a:lnTo>
                    <a:lnTo>
                      <a:pt x="2494" y="388"/>
                    </a:lnTo>
                    <a:lnTo>
                      <a:pt x="2440" y="340"/>
                    </a:lnTo>
                    <a:lnTo>
                      <a:pt x="2384" y="296"/>
                    </a:lnTo>
                    <a:lnTo>
                      <a:pt x="2324" y="254"/>
                    </a:lnTo>
                    <a:lnTo>
                      <a:pt x="2264" y="216"/>
                    </a:lnTo>
                    <a:lnTo>
                      <a:pt x="2202" y="180"/>
                    </a:lnTo>
                    <a:lnTo>
                      <a:pt x="2138" y="148"/>
                    </a:lnTo>
                    <a:lnTo>
                      <a:pt x="2072" y="118"/>
                    </a:lnTo>
                    <a:lnTo>
                      <a:pt x="2004" y="90"/>
                    </a:lnTo>
                    <a:lnTo>
                      <a:pt x="1934" y="66"/>
                    </a:lnTo>
                    <a:lnTo>
                      <a:pt x="1864" y="46"/>
                    </a:lnTo>
                    <a:lnTo>
                      <a:pt x="1792" y="30"/>
                    </a:lnTo>
                    <a:lnTo>
                      <a:pt x="1718" y="16"/>
                    </a:lnTo>
                    <a:lnTo>
                      <a:pt x="1644" y="8"/>
                    </a:lnTo>
                    <a:lnTo>
                      <a:pt x="1568" y="2"/>
                    </a:lnTo>
                    <a:lnTo>
                      <a:pt x="1492" y="0"/>
                    </a:lnTo>
                    <a:lnTo>
                      <a:pt x="1492" y="0"/>
                    </a:lnTo>
                    <a:close/>
                    <a:moveTo>
                      <a:pt x="2688" y="1348"/>
                    </a:moveTo>
                    <a:lnTo>
                      <a:pt x="1634" y="1348"/>
                    </a:lnTo>
                    <a:lnTo>
                      <a:pt x="1634" y="294"/>
                    </a:lnTo>
                    <a:lnTo>
                      <a:pt x="1634" y="294"/>
                    </a:lnTo>
                    <a:lnTo>
                      <a:pt x="1686" y="302"/>
                    </a:lnTo>
                    <a:lnTo>
                      <a:pt x="1736" y="312"/>
                    </a:lnTo>
                    <a:lnTo>
                      <a:pt x="1786" y="322"/>
                    </a:lnTo>
                    <a:lnTo>
                      <a:pt x="1834" y="336"/>
                    </a:lnTo>
                    <a:lnTo>
                      <a:pt x="1884" y="352"/>
                    </a:lnTo>
                    <a:lnTo>
                      <a:pt x="1930" y="368"/>
                    </a:lnTo>
                    <a:lnTo>
                      <a:pt x="1976" y="388"/>
                    </a:lnTo>
                    <a:lnTo>
                      <a:pt x="2022" y="410"/>
                    </a:lnTo>
                    <a:lnTo>
                      <a:pt x="2066" y="432"/>
                    </a:lnTo>
                    <a:lnTo>
                      <a:pt x="2110" y="456"/>
                    </a:lnTo>
                    <a:lnTo>
                      <a:pt x="2152" y="484"/>
                    </a:lnTo>
                    <a:lnTo>
                      <a:pt x="2192" y="512"/>
                    </a:lnTo>
                    <a:lnTo>
                      <a:pt x="2232" y="542"/>
                    </a:lnTo>
                    <a:lnTo>
                      <a:pt x="2270" y="572"/>
                    </a:lnTo>
                    <a:lnTo>
                      <a:pt x="2308" y="606"/>
                    </a:lnTo>
                    <a:lnTo>
                      <a:pt x="2344" y="640"/>
                    </a:lnTo>
                    <a:lnTo>
                      <a:pt x="2378" y="676"/>
                    </a:lnTo>
                    <a:lnTo>
                      <a:pt x="2410" y="712"/>
                    </a:lnTo>
                    <a:lnTo>
                      <a:pt x="2442" y="750"/>
                    </a:lnTo>
                    <a:lnTo>
                      <a:pt x="2472" y="790"/>
                    </a:lnTo>
                    <a:lnTo>
                      <a:pt x="2500" y="832"/>
                    </a:lnTo>
                    <a:lnTo>
                      <a:pt x="2526" y="874"/>
                    </a:lnTo>
                    <a:lnTo>
                      <a:pt x="2550" y="916"/>
                    </a:lnTo>
                    <a:lnTo>
                      <a:pt x="2574" y="960"/>
                    </a:lnTo>
                    <a:lnTo>
                      <a:pt x="2594" y="1006"/>
                    </a:lnTo>
                    <a:lnTo>
                      <a:pt x="2614" y="1052"/>
                    </a:lnTo>
                    <a:lnTo>
                      <a:pt x="2632" y="1100"/>
                    </a:lnTo>
                    <a:lnTo>
                      <a:pt x="2648" y="1148"/>
                    </a:lnTo>
                    <a:lnTo>
                      <a:pt x="2660" y="1198"/>
                    </a:lnTo>
                    <a:lnTo>
                      <a:pt x="2672" y="1248"/>
                    </a:lnTo>
                    <a:lnTo>
                      <a:pt x="2682" y="1298"/>
                    </a:lnTo>
                    <a:lnTo>
                      <a:pt x="2688" y="1348"/>
                    </a:lnTo>
                    <a:lnTo>
                      <a:pt x="2688" y="1348"/>
                    </a:lnTo>
                    <a:close/>
                    <a:moveTo>
                      <a:pt x="1348" y="294"/>
                    </a:moveTo>
                    <a:lnTo>
                      <a:pt x="1348" y="1348"/>
                    </a:lnTo>
                    <a:lnTo>
                      <a:pt x="294" y="1348"/>
                    </a:lnTo>
                    <a:lnTo>
                      <a:pt x="294" y="1348"/>
                    </a:lnTo>
                    <a:lnTo>
                      <a:pt x="302" y="1298"/>
                    </a:lnTo>
                    <a:lnTo>
                      <a:pt x="310" y="1248"/>
                    </a:lnTo>
                    <a:lnTo>
                      <a:pt x="322" y="1198"/>
                    </a:lnTo>
                    <a:lnTo>
                      <a:pt x="336" y="1148"/>
                    </a:lnTo>
                    <a:lnTo>
                      <a:pt x="350" y="1100"/>
                    </a:lnTo>
                    <a:lnTo>
                      <a:pt x="368" y="1052"/>
                    </a:lnTo>
                    <a:lnTo>
                      <a:pt x="388" y="1006"/>
                    </a:lnTo>
                    <a:lnTo>
                      <a:pt x="408" y="960"/>
                    </a:lnTo>
                    <a:lnTo>
                      <a:pt x="432" y="916"/>
                    </a:lnTo>
                    <a:lnTo>
                      <a:pt x="456" y="874"/>
                    </a:lnTo>
                    <a:lnTo>
                      <a:pt x="482" y="832"/>
                    </a:lnTo>
                    <a:lnTo>
                      <a:pt x="510" y="790"/>
                    </a:lnTo>
                    <a:lnTo>
                      <a:pt x="540" y="750"/>
                    </a:lnTo>
                    <a:lnTo>
                      <a:pt x="572" y="712"/>
                    </a:lnTo>
                    <a:lnTo>
                      <a:pt x="604" y="676"/>
                    </a:lnTo>
                    <a:lnTo>
                      <a:pt x="638" y="640"/>
                    </a:lnTo>
                    <a:lnTo>
                      <a:pt x="674" y="606"/>
                    </a:lnTo>
                    <a:lnTo>
                      <a:pt x="712" y="572"/>
                    </a:lnTo>
                    <a:lnTo>
                      <a:pt x="750" y="542"/>
                    </a:lnTo>
                    <a:lnTo>
                      <a:pt x="790" y="512"/>
                    </a:lnTo>
                    <a:lnTo>
                      <a:pt x="830" y="484"/>
                    </a:lnTo>
                    <a:lnTo>
                      <a:pt x="872" y="456"/>
                    </a:lnTo>
                    <a:lnTo>
                      <a:pt x="916" y="432"/>
                    </a:lnTo>
                    <a:lnTo>
                      <a:pt x="960" y="410"/>
                    </a:lnTo>
                    <a:lnTo>
                      <a:pt x="1006" y="388"/>
                    </a:lnTo>
                    <a:lnTo>
                      <a:pt x="1052" y="368"/>
                    </a:lnTo>
                    <a:lnTo>
                      <a:pt x="1100" y="352"/>
                    </a:lnTo>
                    <a:lnTo>
                      <a:pt x="1148" y="336"/>
                    </a:lnTo>
                    <a:lnTo>
                      <a:pt x="1196" y="322"/>
                    </a:lnTo>
                    <a:lnTo>
                      <a:pt x="1246" y="312"/>
                    </a:lnTo>
                    <a:lnTo>
                      <a:pt x="1298" y="302"/>
                    </a:lnTo>
                    <a:lnTo>
                      <a:pt x="1348" y="294"/>
                    </a:lnTo>
                    <a:lnTo>
                      <a:pt x="1348" y="294"/>
                    </a:lnTo>
                    <a:close/>
                    <a:moveTo>
                      <a:pt x="294" y="1633"/>
                    </a:moveTo>
                    <a:lnTo>
                      <a:pt x="1348" y="1633"/>
                    </a:lnTo>
                    <a:lnTo>
                      <a:pt x="1348" y="2689"/>
                    </a:lnTo>
                    <a:lnTo>
                      <a:pt x="1348" y="2689"/>
                    </a:lnTo>
                    <a:lnTo>
                      <a:pt x="1298" y="2681"/>
                    </a:lnTo>
                    <a:lnTo>
                      <a:pt x="1246" y="2671"/>
                    </a:lnTo>
                    <a:lnTo>
                      <a:pt x="1196" y="2661"/>
                    </a:lnTo>
                    <a:lnTo>
                      <a:pt x="1148" y="2647"/>
                    </a:lnTo>
                    <a:lnTo>
                      <a:pt x="1100" y="2631"/>
                    </a:lnTo>
                    <a:lnTo>
                      <a:pt x="1052" y="2613"/>
                    </a:lnTo>
                    <a:lnTo>
                      <a:pt x="1006" y="2595"/>
                    </a:lnTo>
                    <a:lnTo>
                      <a:pt x="960" y="2573"/>
                    </a:lnTo>
                    <a:lnTo>
                      <a:pt x="916" y="2551"/>
                    </a:lnTo>
                    <a:lnTo>
                      <a:pt x="872" y="2525"/>
                    </a:lnTo>
                    <a:lnTo>
                      <a:pt x="830" y="2499"/>
                    </a:lnTo>
                    <a:lnTo>
                      <a:pt x="790" y="2471"/>
                    </a:lnTo>
                    <a:lnTo>
                      <a:pt x="750" y="2441"/>
                    </a:lnTo>
                    <a:lnTo>
                      <a:pt x="712" y="2411"/>
                    </a:lnTo>
                    <a:lnTo>
                      <a:pt x="674" y="2377"/>
                    </a:lnTo>
                    <a:lnTo>
                      <a:pt x="638" y="2343"/>
                    </a:lnTo>
                    <a:lnTo>
                      <a:pt x="604" y="2307"/>
                    </a:lnTo>
                    <a:lnTo>
                      <a:pt x="572" y="2271"/>
                    </a:lnTo>
                    <a:lnTo>
                      <a:pt x="540" y="2231"/>
                    </a:lnTo>
                    <a:lnTo>
                      <a:pt x="510" y="2193"/>
                    </a:lnTo>
                    <a:lnTo>
                      <a:pt x="482" y="2151"/>
                    </a:lnTo>
                    <a:lnTo>
                      <a:pt x="456" y="2109"/>
                    </a:lnTo>
                    <a:lnTo>
                      <a:pt x="432" y="2065"/>
                    </a:lnTo>
                    <a:lnTo>
                      <a:pt x="408" y="2021"/>
                    </a:lnTo>
                    <a:lnTo>
                      <a:pt x="388" y="1977"/>
                    </a:lnTo>
                    <a:lnTo>
                      <a:pt x="368" y="1929"/>
                    </a:lnTo>
                    <a:lnTo>
                      <a:pt x="350" y="1883"/>
                    </a:lnTo>
                    <a:lnTo>
                      <a:pt x="336" y="1835"/>
                    </a:lnTo>
                    <a:lnTo>
                      <a:pt x="322" y="1785"/>
                    </a:lnTo>
                    <a:lnTo>
                      <a:pt x="310" y="1735"/>
                    </a:lnTo>
                    <a:lnTo>
                      <a:pt x="302" y="1685"/>
                    </a:lnTo>
                    <a:lnTo>
                      <a:pt x="294" y="1633"/>
                    </a:lnTo>
                    <a:lnTo>
                      <a:pt x="294" y="1633"/>
                    </a:lnTo>
                    <a:close/>
                    <a:moveTo>
                      <a:pt x="1634" y="2689"/>
                    </a:moveTo>
                    <a:lnTo>
                      <a:pt x="1634" y="1633"/>
                    </a:lnTo>
                    <a:lnTo>
                      <a:pt x="2688" y="1633"/>
                    </a:lnTo>
                    <a:lnTo>
                      <a:pt x="2688" y="1633"/>
                    </a:lnTo>
                    <a:lnTo>
                      <a:pt x="2682" y="1685"/>
                    </a:lnTo>
                    <a:lnTo>
                      <a:pt x="2672" y="1735"/>
                    </a:lnTo>
                    <a:lnTo>
                      <a:pt x="2660" y="1785"/>
                    </a:lnTo>
                    <a:lnTo>
                      <a:pt x="2648" y="1835"/>
                    </a:lnTo>
                    <a:lnTo>
                      <a:pt x="2632" y="1883"/>
                    </a:lnTo>
                    <a:lnTo>
                      <a:pt x="2614" y="1929"/>
                    </a:lnTo>
                    <a:lnTo>
                      <a:pt x="2594" y="1977"/>
                    </a:lnTo>
                    <a:lnTo>
                      <a:pt x="2574" y="2021"/>
                    </a:lnTo>
                    <a:lnTo>
                      <a:pt x="2550" y="2065"/>
                    </a:lnTo>
                    <a:lnTo>
                      <a:pt x="2526" y="2109"/>
                    </a:lnTo>
                    <a:lnTo>
                      <a:pt x="2500" y="2151"/>
                    </a:lnTo>
                    <a:lnTo>
                      <a:pt x="2472" y="2193"/>
                    </a:lnTo>
                    <a:lnTo>
                      <a:pt x="2442" y="2231"/>
                    </a:lnTo>
                    <a:lnTo>
                      <a:pt x="2410" y="2271"/>
                    </a:lnTo>
                    <a:lnTo>
                      <a:pt x="2378" y="2307"/>
                    </a:lnTo>
                    <a:lnTo>
                      <a:pt x="2344" y="2343"/>
                    </a:lnTo>
                    <a:lnTo>
                      <a:pt x="2308" y="2377"/>
                    </a:lnTo>
                    <a:lnTo>
                      <a:pt x="2270" y="2411"/>
                    </a:lnTo>
                    <a:lnTo>
                      <a:pt x="2232" y="2441"/>
                    </a:lnTo>
                    <a:lnTo>
                      <a:pt x="2192" y="2471"/>
                    </a:lnTo>
                    <a:lnTo>
                      <a:pt x="2152" y="2499"/>
                    </a:lnTo>
                    <a:lnTo>
                      <a:pt x="2110" y="2525"/>
                    </a:lnTo>
                    <a:lnTo>
                      <a:pt x="2066" y="2551"/>
                    </a:lnTo>
                    <a:lnTo>
                      <a:pt x="2022" y="2573"/>
                    </a:lnTo>
                    <a:lnTo>
                      <a:pt x="1976" y="2595"/>
                    </a:lnTo>
                    <a:lnTo>
                      <a:pt x="1930" y="2613"/>
                    </a:lnTo>
                    <a:lnTo>
                      <a:pt x="1884" y="2631"/>
                    </a:lnTo>
                    <a:lnTo>
                      <a:pt x="1834" y="2647"/>
                    </a:lnTo>
                    <a:lnTo>
                      <a:pt x="1786" y="2661"/>
                    </a:lnTo>
                    <a:lnTo>
                      <a:pt x="1736" y="2671"/>
                    </a:lnTo>
                    <a:lnTo>
                      <a:pt x="1686" y="2681"/>
                    </a:lnTo>
                    <a:lnTo>
                      <a:pt x="1634" y="2689"/>
                    </a:lnTo>
                    <a:lnTo>
                      <a:pt x="1634" y="26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800"/>
              </a:p>
            </p:txBody>
          </p:sp>
        </p:grpSp>
        <p:sp>
          <p:nvSpPr>
            <p:cNvPr id="88" name="Rectangle 87"/>
            <p:cNvSpPr/>
            <p:nvPr/>
          </p:nvSpPr>
          <p:spPr>
            <a:xfrm>
              <a:off x="8638594" y="2963280"/>
              <a:ext cx="3939520" cy="3559565"/>
            </a:xfrm>
            <a:prstGeom prst="rect">
              <a:avLst/>
            </a:prstGeom>
            <a:noFill/>
            <a:ln>
              <a:solidFill>
                <a:schemeClr val="accent5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600"/>
            </a:p>
          </p:txBody>
        </p:sp>
        <p:sp>
          <p:nvSpPr>
            <p:cNvPr id="92" name="Rectangle 91"/>
            <p:cNvSpPr/>
            <p:nvPr/>
          </p:nvSpPr>
          <p:spPr>
            <a:xfrm>
              <a:off x="9639583" y="3361279"/>
              <a:ext cx="2851909" cy="823363"/>
            </a:xfrm>
            <a:prstGeom prst="rect">
              <a:avLst/>
            </a:prstGeom>
            <a:ln w="6350">
              <a:solidFill>
                <a:schemeClr val="accent5"/>
              </a:solidFill>
            </a:ln>
          </p:spPr>
          <p:txBody>
            <a:bodyPr wrap="square" lIns="72000" tIns="64800" rIns="0" bIns="64800">
              <a:spAutoFit/>
            </a:bodyPr>
            <a:lstStyle/>
            <a:p>
              <a:pPr marL="269875" lvl="1" indent="-182563"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lv-LV" sz="900" dirty="0">
                  <a:sym typeface="Arial"/>
                </a:rPr>
                <a:t>Ko viņi redz apkārt (kādus ierobežojošus pasākumus)?</a:t>
              </a:r>
            </a:p>
            <a:p>
              <a:pPr marL="269875" lvl="1" indent="-182563"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lv-LV" sz="900" dirty="0">
                  <a:sym typeface="Arial"/>
                </a:rPr>
                <a:t>Ko viņi redz viņu tiešā tuvumā?</a:t>
              </a:r>
            </a:p>
            <a:p>
              <a:pPr marL="269875" lvl="1" indent="-182563"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lv-LV" sz="900" dirty="0">
                  <a:sym typeface="Arial"/>
                </a:rPr>
                <a:t>Ko viņi redz, ka pārējie saka un dara?</a:t>
              </a:r>
            </a:p>
            <a:p>
              <a:pPr marL="269875" lvl="1" indent="-182563"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lv-LV" sz="900" dirty="0">
                  <a:sym typeface="Arial"/>
                </a:rPr>
                <a:t>Ko viņi redz un lasa?</a:t>
              </a:r>
            </a:p>
          </p:txBody>
        </p:sp>
        <p:sp>
          <p:nvSpPr>
            <p:cNvPr id="93" name="Rectangle 92"/>
            <p:cNvSpPr/>
            <p:nvPr/>
          </p:nvSpPr>
          <p:spPr>
            <a:xfrm>
              <a:off x="8725217" y="3048380"/>
              <a:ext cx="3766275" cy="138499"/>
            </a:xfrm>
            <a:prstGeom prst="rect">
              <a:avLst/>
            </a:prstGeom>
            <a:ln w="6350">
              <a:noFill/>
            </a:ln>
          </p:spPr>
          <p:txBody>
            <a:bodyPr wrap="square" lIns="72000" tIns="0" rIns="72000" bIns="0">
              <a:spAutoFit/>
            </a:bodyPr>
            <a:lstStyle/>
            <a:p>
              <a:pPr algn="ctr">
                <a:defRPr/>
              </a:pPr>
              <a:r>
                <a:rPr lang="lv-LV" sz="900" b="1" dirty="0">
                  <a:sym typeface="Arial"/>
                </a:rPr>
                <a:t>3. Ko viņi REDZ?</a:t>
              </a:r>
            </a:p>
          </p:txBody>
        </p:sp>
        <p:cxnSp>
          <p:nvCxnSpPr>
            <p:cNvPr id="94" name="Straight Connector 93"/>
            <p:cNvCxnSpPr/>
            <p:nvPr/>
          </p:nvCxnSpPr>
          <p:spPr>
            <a:xfrm>
              <a:off x="8725217" y="3274079"/>
              <a:ext cx="3765550" cy="0"/>
            </a:xfrm>
            <a:prstGeom prst="line">
              <a:avLst/>
            </a:prstGeom>
            <a:ln w="3175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108" name="Group 107"/>
          <p:cNvGrpSpPr/>
          <p:nvPr/>
        </p:nvGrpSpPr>
        <p:grpSpPr>
          <a:xfrm>
            <a:off x="6504038" y="6724833"/>
            <a:ext cx="6074076" cy="2643597"/>
            <a:chOff x="6504038" y="6724833"/>
            <a:chExt cx="6074076" cy="2643597"/>
          </a:xfrm>
        </p:grpSpPr>
        <p:pic>
          <p:nvPicPr>
            <p:cNvPr id="46" name="Picture 45"/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590871" y="7128555"/>
              <a:ext cx="728678" cy="828000"/>
            </a:xfrm>
            <a:prstGeom prst="rect">
              <a:avLst/>
            </a:prstGeom>
          </p:spPr>
        </p:pic>
        <p:sp>
          <p:nvSpPr>
            <p:cNvPr id="50" name="Rectangle 49"/>
            <p:cNvSpPr/>
            <p:nvPr/>
          </p:nvSpPr>
          <p:spPr>
            <a:xfrm>
              <a:off x="7404342" y="7128555"/>
              <a:ext cx="5087150" cy="567811"/>
            </a:xfrm>
            <a:prstGeom prst="rect">
              <a:avLst/>
            </a:prstGeom>
            <a:ln w="6350">
              <a:solidFill>
                <a:schemeClr val="accent3"/>
              </a:solidFill>
            </a:ln>
          </p:spPr>
          <p:txBody>
            <a:bodyPr wrap="square" lIns="72000" tIns="144000" rIns="0" bIns="144000">
              <a:spAutoFit/>
            </a:bodyPr>
            <a:lstStyle/>
            <a:p>
              <a:pPr marL="269875" lvl="1" indent="-182563">
                <a:buClr>
                  <a:schemeClr val="tx1"/>
                </a:buClr>
                <a:buFont typeface="Arial" panose="020B0604020202020204" pitchFamily="34" charset="0"/>
                <a:buChar char="•"/>
              </a:pPr>
              <a:r>
                <a:rPr lang="lv-LV" sz="900" dirty="0">
                  <a:solidFill>
                    <a:schemeClr val="tx1"/>
                  </a:solidFill>
                  <a:sym typeface="Arial"/>
                </a:rPr>
                <a:t>Ko mēs dzirdējām, ka viņi saka?</a:t>
              </a:r>
            </a:p>
            <a:p>
              <a:pPr marL="269875" lvl="1" indent="-182563">
                <a:buClr>
                  <a:schemeClr val="tx1"/>
                </a:buClr>
                <a:buFont typeface="Arial" panose="020B0604020202020204" pitchFamily="34" charset="0"/>
                <a:buChar char="•"/>
              </a:pPr>
              <a:r>
                <a:rPr lang="lv-LV" sz="900" dirty="0">
                  <a:solidFill>
                    <a:schemeClr val="tx1"/>
                  </a:solidFill>
                  <a:sym typeface="Arial"/>
                </a:rPr>
                <a:t>Ko mēs iedomājamies viņus sakām?</a:t>
              </a:r>
            </a:p>
          </p:txBody>
        </p:sp>
        <p:sp>
          <p:nvSpPr>
            <p:cNvPr id="67" name="Rectangle 66"/>
            <p:cNvSpPr/>
            <p:nvPr/>
          </p:nvSpPr>
          <p:spPr>
            <a:xfrm>
              <a:off x="6504039" y="6724833"/>
              <a:ext cx="6074075" cy="2643597"/>
            </a:xfrm>
            <a:prstGeom prst="rect">
              <a:avLst/>
            </a:prstGeom>
            <a:noFill/>
            <a:ln>
              <a:solidFill>
                <a:schemeClr val="accent3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600"/>
            </a:p>
          </p:txBody>
        </p:sp>
        <p:sp>
          <p:nvSpPr>
            <p:cNvPr id="100" name="Rectangle 99"/>
            <p:cNvSpPr/>
            <p:nvPr/>
          </p:nvSpPr>
          <p:spPr>
            <a:xfrm>
              <a:off x="6504038" y="6818672"/>
              <a:ext cx="6074075" cy="138499"/>
            </a:xfrm>
            <a:prstGeom prst="rect">
              <a:avLst/>
            </a:prstGeom>
            <a:ln w="6350">
              <a:noFill/>
            </a:ln>
          </p:spPr>
          <p:txBody>
            <a:bodyPr wrap="square" lIns="72000" tIns="0" rIns="72000" bIns="0">
              <a:spAutoFit/>
            </a:bodyPr>
            <a:lstStyle/>
            <a:p>
              <a:pPr algn="ctr">
                <a:defRPr/>
              </a:pPr>
              <a:r>
                <a:rPr lang="lv-LV" sz="900" b="1" dirty="0">
                  <a:sym typeface="Arial"/>
                </a:rPr>
                <a:t>4. Ko viņi SAKA?</a:t>
              </a:r>
            </a:p>
          </p:txBody>
        </p:sp>
        <p:cxnSp>
          <p:nvCxnSpPr>
            <p:cNvPr id="101" name="Straight Connector 100"/>
            <p:cNvCxnSpPr/>
            <p:nvPr/>
          </p:nvCxnSpPr>
          <p:spPr>
            <a:xfrm>
              <a:off x="6504268" y="7044371"/>
              <a:ext cx="6072906" cy="0"/>
            </a:xfrm>
            <a:prstGeom prst="line">
              <a:avLst/>
            </a:prstGeom>
            <a:ln w="3175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126" name="Group 125"/>
          <p:cNvGrpSpPr/>
          <p:nvPr/>
        </p:nvGrpSpPr>
        <p:grpSpPr>
          <a:xfrm>
            <a:off x="223486" y="6724833"/>
            <a:ext cx="6074076" cy="2643597"/>
            <a:chOff x="223486" y="6724833"/>
            <a:chExt cx="6074076" cy="2643597"/>
          </a:xfrm>
        </p:grpSpPr>
        <p:sp>
          <p:nvSpPr>
            <p:cNvPr id="17" name="Freeform 26"/>
            <p:cNvSpPr>
              <a:spLocks noChangeAspect="1" noEditPoints="1"/>
            </p:cNvSpPr>
            <p:nvPr/>
          </p:nvSpPr>
          <p:spPr bwMode="auto">
            <a:xfrm>
              <a:off x="310319" y="7128555"/>
              <a:ext cx="752200" cy="828000"/>
            </a:xfrm>
            <a:custGeom>
              <a:avLst/>
              <a:gdLst>
                <a:gd name="T0" fmla="*/ 0 w 396"/>
                <a:gd name="T1" fmla="*/ 0 h 440"/>
                <a:gd name="T2" fmla="*/ 0 w 396"/>
                <a:gd name="T3" fmla="*/ 315 h 440"/>
                <a:gd name="T4" fmla="*/ 198 w 396"/>
                <a:gd name="T5" fmla="*/ 440 h 440"/>
                <a:gd name="T6" fmla="*/ 396 w 396"/>
                <a:gd name="T7" fmla="*/ 315 h 440"/>
                <a:gd name="T8" fmla="*/ 396 w 396"/>
                <a:gd name="T9" fmla="*/ 0 h 440"/>
                <a:gd name="T10" fmla="*/ 0 w 396"/>
                <a:gd name="T11" fmla="*/ 0 h 440"/>
                <a:gd name="T12" fmla="*/ 379 w 396"/>
                <a:gd name="T13" fmla="*/ 306 h 440"/>
                <a:gd name="T14" fmla="*/ 198 w 396"/>
                <a:gd name="T15" fmla="*/ 419 h 440"/>
                <a:gd name="T16" fmla="*/ 17 w 396"/>
                <a:gd name="T17" fmla="*/ 306 h 440"/>
                <a:gd name="T18" fmla="*/ 17 w 396"/>
                <a:gd name="T19" fmla="*/ 18 h 440"/>
                <a:gd name="T20" fmla="*/ 379 w 396"/>
                <a:gd name="T21" fmla="*/ 18 h 440"/>
                <a:gd name="T22" fmla="*/ 379 w 396"/>
                <a:gd name="T23" fmla="*/ 306 h 440"/>
                <a:gd name="T24" fmla="*/ 327 w 396"/>
                <a:gd name="T25" fmla="*/ 280 h 440"/>
                <a:gd name="T26" fmla="*/ 327 w 396"/>
                <a:gd name="T27" fmla="*/ 59 h 440"/>
                <a:gd name="T28" fmla="*/ 64 w 396"/>
                <a:gd name="T29" fmla="*/ 59 h 440"/>
                <a:gd name="T30" fmla="*/ 64 w 396"/>
                <a:gd name="T31" fmla="*/ 280 h 440"/>
                <a:gd name="T32" fmla="*/ 198 w 396"/>
                <a:gd name="T33" fmla="*/ 359 h 440"/>
                <a:gd name="T34" fmla="*/ 327 w 396"/>
                <a:gd name="T35" fmla="*/ 280 h 440"/>
                <a:gd name="T36" fmla="*/ 80 w 396"/>
                <a:gd name="T37" fmla="*/ 270 h 440"/>
                <a:gd name="T38" fmla="*/ 80 w 396"/>
                <a:gd name="T39" fmla="*/ 75 h 440"/>
                <a:gd name="T40" fmla="*/ 311 w 396"/>
                <a:gd name="T41" fmla="*/ 75 h 440"/>
                <a:gd name="T42" fmla="*/ 311 w 396"/>
                <a:gd name="T43" fmla="*/ 270 h 440"/>
                <a:gd name="T44" fmla="*/ 198 w 396"/>
                <a:gd name="T45" fmla="*/ 339 h 440"/>
                <a:gd name="T46" fmla="*/ 80 w 396"/>
                <a:gd name="T47" fmla="*/ 270 h 440"/>
                <a:gd name="T48" fmla="*/ 252 w 396"/>
                <a:gd name="T49" fmla="*/ 149 h 440"/>
                <a:gd name="T50" fmla="*/ 264 w 396"/>
                <a:gd name="T51" fmla="*/ 161 h 440"/>
                <a:gd name="T52" fmla="*/ 188 w 396"/>
                <a:gd name="T53" fmla="*/ 245 h 440"/>
                <a:gd name="T54" fmla="*/ 143 w 396"/>
                <a:gd name="T55" fmla="*/ 203 h 440"/>
                <a:gd name="T56" fmla="*/ 155 w 396"/>
                <a:gd name="T57" fmla="*/ 190 h 440"/>
                <a:gd name="T58" fmla="*/ 187 w 396"/>
                <a:gd name="T59" fmla="*/ 221 h 440"/>
                <a:gd name="T60" fmla="*/ 252 w 396"/>
                <a:gd name="T61" fmla="*/ 149 h 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96" h="440">
                  <a:moveTo>
                    <a:pt x="0" y="0"/>
                  </a:moveTo>
                  <a:lnTo>
                    <a:pt x="0" y="315"/>
                  </a:lnTo>
                  <a:lnTo>
                    <a:pt x="198" y="440"/>
                  </a:lnTo>
                  <a:lnTo>
                    <a:pt x="396" y="315"/>
                  </a:lnTo>
                  <a:lnTo>
                    <a:pt x="396" y="0"/>
                  </a:lnTo>
                  <a:lnTo>
                    <a:pt x="0" y="0"/>
                  </a:lnTo>
                  <a:close/>
                  <a:moveTo>
                    <a:pt x="379" y="306"/>
                  </a:moveTo>
                  <a:lnTo>
                    <a:pt x="198" y="419"/>
                  </a:lnTo>
                  <a:lnTo>
                    <a:pt x="17" y="306"/>
                  </a:lnTo>
                  <a:lnTo>
                    <a:pt x="17" y="18"/>
                  </a:lnTo>
                  <a:lnTo>
                    <a:pt x="379" y="18"/>
                  </a:lnTo>
                  <a:lnTo>
                    <a:pt x="379" y="306"/>
                  </a:lnTo>
                  <a:close/>
                  <a:moveTo>
                    <a:pt x="327" y="280"/>
                  </a:moveTo>
                  <a:lnTo>
                    <a:pt x="327" y="59"/>
                  </a:lnTo>
                  <a:lnTo>
                    <a:pt x="64" y="59"/>
                  </a:lnTo>
                  <a:lnTo>
                    <a:pt x="64" y="280"/>
                  </a:lnTo>
                  <a:lnTo>
                    <a:pt x="198" y="359"/>
                  </a:lnTo>
                  <a:lnTo>
                    <a:pt x="327" y="280"/>
                  </a:lnTo>
                  <a:close/>
                  <a:moveTo>
                    <a:pt x="80" y="270"/>
                  </a:moveTo>
                  <a:lnTo>
                    <a:pt x="80" y="75"/>
                  </a:lnTo>
                  <a:lnTo>
                    <a:pt x="311" y="75"/>
                  </a:lnTo>
                  <a:lnTo>
                    <a:pt x="311" y="270"/>
                  </a:lnTo>
                  <a:lnTo>
                    <a:pt x="198" y="339"/>
                  </a:lnTo>
                  <a:lnTo>
                    <a:pt x="80" y="270"/>
                  </a:lnTo>
                  <a:close/>
                  <a:moveTo>
                    <a:pt x="252" y="149"/>
                  </a:moveTo>
                  <a:lnTo>
                    <a:pt x="264" y="161"/>
                  </a:lnTo>
                  <a:lnTo>
                    <a:pt x="188" y="245"/>
                  </a:lnTo>
                  <a:lnTo>
                    <a:pt x="143" y="203"/>
                  </a:lnTo>
                  <a:lnTo>
                    <a:pt x="155" y="190"/>
                  </a:lnTo>
                  <a:lnTo>
                    <a:pt x="187" y="221"/>
                  </a:lnTo>
                  <a:lnTo>
                    <a:pt x="252" y="149"/>
                  </a:ln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68580" tIns="34290" rIns="68580" bIns="34290" numCol="1" anchor="t" anchorCtr="0" compatLnSpc="1">
              <a:prstTxWarp prst="textNoShape">
                <a:avLst/>
              </a:prstTxWarp>
            </a:bodyPr>
            <a:lstStyle/>
            <a:p>
              <a:endParaRPr lang="en-US" sz="1350">
                <a:solidFill>
                  <a:schemeClr val="accent1"/>
                </a:solidFill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1123790" y="7128555"/>
              <a:ext cx="5087150" cy="706311"/>
            </a:xfrm>
            <a:prstGeom prst="rect">
              <a:avLst/>
            </a:prstGeom>
            <a:ln w="6350">
              <a:solidFill>
                <a:schemeClr val="accent4"/>
              </a:solidFill>
            </a:ln>
          </p:spPr>
          <p:txBody>
            <a:bodyPr wrap="square" lIns="72000" tIns="144000" rIns="0" bIns="144000">
              <a:spAutoFit/>
            </a:bodyPr>
            <a:lstStyle/>
            <a:p>
              <a:pPr marL="269875" lvl="1" indent="-182563"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lv-LV" sz="900" dirty="0">
                  <a:sym typeface="Arial"/>
                </a:rPr>
                <a:t>Ko viņi šodien dara?</a:t>
              </a:r>
            </a:p>
            <a:p>
              <a:pPr marL="269875" lvl="1" indent="-182563"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lv-LV" sz="900" dirty="0">
                  <a:sym typeface="Arial"/>
                </a:rPr>
                <a:t>Kādu viņu rīcību mēs novērojām?</a:t>
              </a:r>
            </a:p>
            <a:p>
              <a:pPr marL="269875" lvl="1" indent="-182563"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lv-LV" sz="900" dirty="0">
                  <a:sym typeface="Arial"/>
                </a:rPr>
                <a:t>Ko mēs iedomājamies, ka viņi dara?</a:t>
              </a: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223487" y="6724833"/>
              <a:ext cx="6074075" cy="2643597"/>
            </a:xfrm>
            <a:prstGeom prst="rect">
              <a:avLst/>
            </a:prstGeom>
            <a:noFill/>
            <a:ln>
              <a:solidFill>
                <a:schemeClr val="accent4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600"/>
            </a:p>
          </p:txBody>
        </p:sp>
        <p:sp>
          <p:nvSpPr>
            <p:cNvPr id="116" name="Rectangle 115"/>
            <p:cNvSpPr/>
            <p:nvPr/>
          </p:nvSpPr>
          <p:spPr>
            <a:xfrm>
              <a:off x="223486" y="6818672"/>
              <a:ext cx="6074075" cy="138499"/>
            </a:xfrm>
            <a:prstGeom prst="rect">
              <a:avLst/>
            </a:prstGeom>
            <a:ln w="6350">
              <a:noFill/>
            </a:ln>
          </p:spPr>
          <p:txBody>
            <a:bodyPr wrap="square" lIns="72000" tIns="0" rIns="72000" bIns="0">
              <a:spAutoFit/>
            </a:bodyPr>
            <a:lstStyle/>
            <a:p>
              <a:pPr algn="ctr">
                <a:defRPr/>
              </a:pPr>
              <a:r>
                <a:rPr lang="lv-LV" sz="900" b="1" dirty="0">
                  <a:sym typeface="Arial"/>
                </a:rPr>
                <a:t>5. Ko viņi DARA?</a:t>
              </a:r>
            </a:p>
          </p:txBody>
        </p:sp>
        <p:cxnSp>
          <p:nvCxnSpPr>
            <p:cNvPr id="117" name="Straight Connector 116"/>
            <p:cNvCxnSpPr/>
            <p:nvPr/>
          </p:nvCxnSpPr>
          <p:spPr>
            <a:xfrm>
              <a:off x="223716" y="7044371"/>
              <a:ext cx="6072906" cy="0"/>
            </a:xfrm>
            <a:prstGeom prst="line">
              <a:avLst/>
            </a:prstGeom>
            <a:ln w="3175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133" name="Group 132"/>
          <p:cNvGrpSpPr/>
          <p:nvPr/>
        </p:nvGrpSpPr>
        <p:grpSpPr>
          <a:xfrm>
            <a:off x="223486" y="3020818"/>
            <a:ext cx="3939520" cy="3559565"/>
            <a:chOff x="223486" y="2963280"/>
            <a:chExt cx="3939520" cy="3559565"/>
          </a:xfrm>
        </p:grpSpPr>
        <p:grpSp>
          <p:nvGrpSpPr>
            <p:cNvPr id="12" name="Group 11"/>
            <p:cNvGrpSpPr/>
            <p:nvPr/>
          </p:nvGrpSpPr>
          <p:grpSpPr>
            <a:xfrm>
              <a:off x="307436" y="3361279"/>
              <a:ext cx="828000" cy="828000"/>
              <a:chOff x="7705725" y="2733675"/>
              <a:chExt cx="476250" cy="476250"/>
            </a:xfrm>
            <a:solidFill>
              <a:schemeClr val="bg1">
                <a:lumMod val="65000"/>
              </a:schemeClr>
            </a:solidFill>
          </p:grpSpPr>
          <p:sp>
            <p:nvSpPr>
              <p:cNvPr id="13" name="Freeform 69"/>
              <p:cNvSpPr>
                <a:spLocks noEditPoints="1"/>
              </p:cNvSpPr>
              <p:nvPr/>
            </p:nvSpPr>
            <p:spPr bwMode="auto">
              <a:xfrm>
                <a:off x="7705725" y="2733675"/>
                <a:ext cx="476250" cy="476250"/>
              </a:xfrm>
              <a:custGeom>
                <a:avLst/>
                <a:gdLst>
                  <a:gd name="T0" fmla="*/ 0 w 576"/>
                  <a:gd name="T1" fmla="*/ 0 h 576"/>
                  <a:gd name="T2" fmla="*/ 0 w 576"/>
                  <a:gd name="T3" fmla="*/ 576 h 576"/>
                  <a:gd name="T4" fmla="*/ 576 w 576"/>
                  <a:gd name="T5" fmla="*/ 576 h 576"/>
                  <a:gd name="T6" fmla="*/ 576 w 576"/>
                  <a:gd name="T7" fmla="*/ 0 h 576"/>
                  <a:gd name="T8" fmla="*/ 0 w 576"/>
                  <a:gd name="T9" fmla="*/ 0 h 576"/>
                  <a:gd name="T10" fmla="*/ 288 w 576"/>
                  <a:gd name="T11" fmla="*/ 455 h 576"/>
                  <a:gd name="T12" fmla="*/ 269 w 576"/>
                  <a:gd name="T13" fmla="*/ 436 h 576"/>
                  <a:gd name="T14" fmla="*/ 288 w 576"/>
                  <a:gd name="T15" fmla="*/ 417 h 576"/>
                  <a:gd name="T16" fmla="*/ 307 w 576"/>
                  <a:gd name="T17" fmla="*/ 436 h 576"/>
                  <a:gd name="T18" fmla="*/ 288 w 576"/>
                  <a:gd name="T19" fmla="*/ 455 h 576"/>
                  <a:gd name="T20" fmla="*/ 551 w 576"/>
                  <a:gd name="T21" fmla="*/ 551 h 576"/>
                  <a:gd name="T22" fmla="*/ 300 w 576"/>
                  <a:gd name="T23" fmla="*/ 551 h 576"/>
                  <a:gd name="T24" fmla="*/ 300 w 576"/>
                  <a:gd name="T25" fmla="*/ 478 h 576"/>
                  <a:gd name="T26" fmla="*/ 331 w 576"/>
                  <a:gd name="T27" fmla="*/ 436 h 576"/>
                  <a:gd name="T28" fmla="*/ 288 w 576"/>
                  <a:gd name="T29" fmla="*/ 393 h 576"/>
                  <a:gd name="T30" fmla="*/ 245 w 576"/>
                  <a:gd name="T31" fmla="*/ 436 h 576"/>
                  <a:gd name="T32" fmla="*/ 276 w 576"/>
                  <a:gd name="T33" fmla="*/ 478 h 576"/>
                  <a:gd name="T34" fmla="*/ 276 w 576"/>
                  <a:gd name="T35" fmla="*/ 551 h 576"/>
                  <a:gd name="T36" fmla="*/ 25 w 576"/>
                  <a:gd name="T37" fmla="*/ 551 h 576"/>
                  <a:gd name="T38" fmla="*/ 25 w 576"/>
                  <a:gd name="T39" fmla="*/ 25 h 576"/>
                  <a:gd name="T40" fmla="*/ 551 w 576"/>
                  <a:gd name="T41" fmla="*/ 25 h 576"/>
                  <a:gd name="T42" fmla="*/ 551 w 576"/>
                  <a:gd name="T43" fmla="*/ 551 h 5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576" h="576">
                    <a:moveTo>
                      <a:pt x="0" y="0"/>
                    </a:moveTo>
                    <a:cubicBezTo>
                      <a:pt x="0" y="576"/>
                      <a:pt x="0" y="576"/>
                      <a:pt x="0" y="576"/>
                    </a:cubicBezTo>
                    <a:cubicBezTo>
                      <a:pt x="576" y="576"/>
                      <a:pt x="576" y="576"/>
                      <a:pt x="576" y="576"/>
                    </a:cubicBezTo>
                    <a:cubicBezTo>
                      <a:pt x="576" y="0"/>
                      <a:pt x="576" y="0"/>
                      <a:pt x="576" y="0"/>
                    </a:cubicBezTo>
                    <a:lnTo>
                      <a:pt x="0" y="0"/>
                    </a:lnTo>
                    <a:close/>
                    <a:moveTo>
                      <a:pt x="288" y="455"/>
                    </a:moveTo>
                    <a:cubicBezTo>
                      <a:pt x="278" y="455"/>
                      <a:pt x="269" y="446"/>
                      <a:pt x="269" y="436"/>
                    </a:cubicBezTo>
                    <a:cubicBezTo>
                      <a:pt x="269" y="426"/>
                      <a:pt x="278" y="417"/>
                      <a:pt x="288" y="417"/>
                    </a:cubicBezTo>
                    <a:cubicBezTo>
                      <a:pt x="298" y="417"/>
                      <a:pt x="307" y="426"/>
                      <a:pt x="307" y="436"/>
                    </a:cubicBezTo>
                    <a:cubicBezTo>
                      <a:pt x="307" y="446"/>
                      <a:pt x="298" y="455"/>
                      <a:pt x="288" y="455"/>
                    </a:cubicBezTo>
                    <a:close/>
                    <a:moveTo>
                      <a:pt x="551" y="551"/>
                    </a:moveTo>
                    <a:cubicBezTo>
                      <a:pt x="300" y="551"/>
                      <a:pt x="300" y="551"/>
                      <a:pt x="300" y="551"/>
                    </a:cubicBezTo>
                    <a:cubicBezTo>
                      <a:pt x="300" y="478"/>
                      <a:pt x="300" y="478"/>
                      <a:pt x="300" y="478"/>
                    </a:cubicBezTo>
                    <a:cubicBezTo>
                      <a:pt x="318" y="472"/>
                      <a:pt x="331" y="456"/>
                      <a:pt x="331" y="436"/>
                    </a:cubicBezTo>
                    <a:cubicBezTo>
                      <a:pt x="331" y="412"/>
                      <a:pt x="312" y="393"/>
                      <a:pt x="288" y="393"/>
                    </a:cubicBezTo>
                    <a:cubicBezTo>
                      <a:pt x="264" y="393"/>
                      <a:pt x="245" y="412"/>
                      <a:pt x="245" y="436"/>
                    </a:cubicBezTo>
                    <a:cubicBezTo>
                      <a:pt x="245" y="456"/>
                      <a:pt x="258" y="472"/>
                      <a:pt x="276" y="478"/>
                    </a:cubicBezTo>
                    <a:cubicBezTo>
                      <a:pt x="276" y="551"/>
                      <a:pt x="276" y="551"/>
                      <a:pt x="276" y="551"/>
                    </a:cubicBezTo>
                    <a:cubicBezTo>
                      <a:pt x="25" y="551"/>
                      <a:pt x="25" y="551"/>
                      <a:pt x="25" y="551"/>
                    </a:cubicBezTo>
                    <a:cubicBezTo>
                      <a:pt x="25" y="25"/>
                      <a:pt x="25" y="25"/>
                      <a:pt x="25" y="25"/>
                    </a:cubicBezTo>
                    <a:cubicBezTo>
                      <a:pt x="551" y="25"/>
                      <a:pt x="551" y="25"/>
                      <a:pt x="551" y="25"/>
                    </a:cubicBezTo>
                    <a:lnTo>
                      <a:pt x="551" y="55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4" name="Freeform 70"/>
              <p:cNvSpPr>
                <a:spLocks/>
              </p:cNvSpPr>
              <p:nvPr/>
            </p:nvSpPr>
            <p:spPr bwMode="auto">
              <a:xfrm>
                <a:off x="7777163" y="2824163"/>
                <a:ext cx="333375" cy="82550"/>
              </a:xfrm>
              <a:custGeom>
                <a:avLst/>
                <a:gdLst>
                  <a:gd name="T0" fmla="*/ 201 w 402"/>
                  <a:gd name="T1" fmla="*/ 24 h 100"/>
                  <a:gd name="T2" fmla="*/ 385 w 402"/>
                  <a:gd name="T3" fmla="*/ 100 h 100"/>
                  <a:gd name="T4" fmla="*/ 402 w 402"/>
                  <a:gd name="T5" fmla="*/ 83 h 100"/>
                  <a:gd name="T6" fmla="*/ 201 w 402"/>
                  <a:gd name="T7" fmla="*/ 0 h 100"/>
                  <a:gd name="T8" fmla="*/ 0 w 402"/>
                  <a:gd name="T9" fmla="*/ 83 h 100"/>
                  <a:gd name="T10" fmla="*/ 17 w 402"/>
                  <a:gd name="T11" fmla="*/ 100 h 100"/>
                  <a:gd name="T12" fmla="*/ 201 w 402"/>
                  <a:gd name="T13" fmla="*/ 2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02" h="100">
                    <a:moveTo>
                      <a:pt x="201" y="24"/>
                    </a:moveTo>
                    <a:cubicBezTo>
                      <a:pt x="270" y="24"/>
                      <a:pt x="336" y="51"/>
                      <a:pt x="385" y="100"/>
                    </a:cubicBezTo>
                    <a:cubicBezTo>
                      <a:pt x="402" y="83"/>
                      <a:pt x="402" y="83"/>
                      <a:pt x="402" y="83"/>
                    </a:cubicBezTo>
                    <a:cubicBezTo>
                      <a:pt x="348" y="29"/>
                      <a:pt x="277" y="0"/>
                      <a:pt x="201" y="0"/>
                    </a:cubicBezTo>
                    <a:cubicBezTo>
                      <a:pt x="125" y="0"/>
                      <a:pt x="54" y="29"/>
                      <a:pt x="0" y="83"/>
                    </a:cubicBezTo>
                    <a:cubicBezTo>
                      <a:pt x="17" y="100"/>
                      <a:pt x="17" y="100"/>
                      <a:pt x="17" y="100"/>
                    </a:cubicBezTo>
                    <a:cubicBezTo>
                      <a:pt x="66" y="51"/>
                      <a:pt x="132" y="24"/>
                      <a:pt x="201" y="2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5" name="Freeform 71"/>
              <p:cNvSpPr>
                <a:spLocks/>
              </p:cNvSpPr>
              <p:nvPr/>
            </p:nvSpPr>
            <p:spPr bwMode="auto">
              <a:xfrm>
                <a:off x="7835900" y="2889250"/>
                <a:ext cx="215900" cy="74613"/>
              </a:xfrm>
              <a:custGeom>
                <a:avLst/>
                <a:gdLst>
                  <a:gd name="T0" fmla="*/ 0 w 262"/>
                  <a:gd name="T1" fmla="*/ 73 h 90"/>
                  <a:gd name="T2" fmla="*/ 17 w 262"/>
                  <a:gd name="T3" fmla="*/ 90 h 90"/>
                  <a:gd name="T4" fmla="*/ 245 w 262"/>
                  <a:gd name="T5" fmla="*/ 90 h 90"/>
                  <a:gd name="T6" fmla="*/ 262 w 262"/>
                  <a:gd name="T7" fmla="*/ 73 h 90"/>
                  <a:gd name="T8" fmla="*/ 0 w 262"/>
                  <a:gd name="T9" fmla="*/ 73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62" h="90">
                    <a:moveTo>
                      <a:pt x="0" y="73"/>
                    </a:moveTo>
                    <a:cubicBezTo>
                      <a:pt x="17" y="90"/>
                      <a:pt x="17" y="90"/>
                      <a:pt x="17" y="90"/>
                    </a:cubicBezTo>
                    <a:cubicBezTo>
                      <a:pt x="80" y="27"/>
                      <a:pt x="182" y="27"/>
                      <a:pt x="245" y="90"/>
                    </a:cubicBezTo>
                    <a:cubicBezTo>
                      <a:pt x="262" y="73"/>
                      <a:pt x="262" y="73"/>
                      <a:pt x="262" y="73"/>
                    </a:cubicBezTo>
                    <a:cubicBezTo>
                      <a:pt x="190" y="0"/>
                      <a:pt x="72" y="0"/>
                      <a:pt x="0" y="7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6" name="Freeform 72"/>
              <p:cNvSpPr>
                <a:spLocks/>
              </p:cNvSpPr>
              <p:nvPr/>
            </p:nvSpPr>
            <p:spPr bwMode="auto">
              <a:xfrm>
                <a:off x="7891463" y="2984500"/>
                <a:ext cx="104775" cy="36513"/>
              </a:xfrm>
              <a:custGeom>
                <a:avLst/>
                <a:gdLst>
                  <a:gd name="T0" fmla="*/ 0 w 126"/>
                  <a:gd name="T1" fmla="*/ 26 h 43"/>
                  <a:gd name="T2" fmla="*/ 17 w 126"/>
                  <a:gd name="T3" fmla="*/ 43 h 43"/>
                  <a:gd name="T4" fmla="*/ 63 w 126"/>
                  <a:gd name="T5" fmla="*/ 24 h 43"/>
                  <a:gd name="T6" fmla="*/ 109 w 126"/>
                  <a:gd name="T7" fmla="*/ 43 h 43"/>
                  <a:gd name="T8" fmla="*/ 126 w 126"/>
                  <a:gd name="T9" fmla="*/ 26 h 43"/>
                  <a:gd name="T10" fmla="*/ 63 w 126"/>
                  <a:gd name="T11" fmla="*/ 0 h 43"/>
                  <a:gd name="T12" fmla="*/ 0 w 126"/>
                  <a:gd name="T13" fmla="*/ 26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26" h="43">
                    <a:moveTo>
                      <a:pt x="0" y="26"/>
                    </a:moveTo>
                    <a:cubicBezTo>
                      <a:pt x="17" y="43"/>
                      <a:pt x="17" y="43"/>
                      <a:pt x="17" y="43"/>
                    </a:cubicBezTo>
                    <a:cubicBezTo>
                      <a:pt x="29" y="31"/>
                      <a:pt x="46" y="24"/>
                      <a:pt x="63" y="24"/>
                    </a:cubicBezTo>
                    <a:cubicBezTo>
                      <a:pt x="80" y="24"/>
                      <a:pt x="97" y="31"/>
                      <a:pt x="109" y="43"/>
                    </a:cubicBezTo>
                    <a:cubicBezTo>
                      <a:pt x="126" y="26"/>
                      <a:pt x="126" y="26"/>
                      <a:pt x="126" y="26"/>
                    </a:cubicBezTo>
                    <a:cubicBezTo>
                      <a:pt x="109" y="9"/>
                      <a:pt x="87" y="0"/>
                      <a:pt x="63" y="0"/>
                    </a:cubicBezTo>
                    <a:cubicBezTo>
                      <a:pt x="39" y="0"/>
                      <a:pt x="17" y="9"/>
                      <a:pt x="0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0" name="Rectangle 119"/>
            <p:cNvSpPr/>
            <p:nvPr/>
          </p:nvSpPr>
          <p:spPr>
            <a:xfrm>
              <a:off x="223486" y="2963280"/>
              <a:ext cx="3939520" cy="3559565"/>
            </a:xfrm>
            <a:prstGeom prst="rect">
              <a:avLst/>
            </a:prstGeom>
            <a:noFill/>
            <a:ln>
              <a:solidFill>
                <a:schemeClr val="bg1">
                  <a:lumMod val="6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600"/>
            </a:p>
          </p:txBody>
        </p:sp>
        <p:sp>
          <p:nvSpPr>
            <p:cNvPr id="121" name="Rectangle 120"/>
            <p:cNvSpPr/>
            <p:nvPr/>
          </p:nvSpPr>
          <p:spPr>
            <a:xfrm>
              <a:off x="1224475" y="3361279"/>
              <a:ext cx="2851909" cy="808459"/>
            </a:xfrm>
            <a:prstGeom prst="rect">
              <a:avLst/>
            </a:prstGeom>
            <a:ln w="6350">
              <a:solidFill>
                <a:schemeClr val="bg1">
                  <a:lumMod val="65000"/>
                </a:schemeClr>
              </a:solidFill>
            </a:ln>
          </p:spPr>
          <p:txBody>
            <a:bodyPr wrap="square" lIns="72000" tIns="126000" rIns="0" bIns="126000">
              <a:spAutoFit/>
            </a:bodyPr>
            <a:lstStyle/>
            <a:p>
              <a:pPr marL="269875" lvl="1" indent="-182563"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lv-LV" sz="900" dirty="0">
                  <a:sym typeface="Arial"/>
                </a:rPr>
                <a:t>Ko viņi dzird, ka citi saka?</a:t>
              </a:r>
            </a:p>
            <a:p>
              <a:pPr marL="269875" lvl="1" indent="-182563"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lv-LV" sz="900" dirty="0">
                  <a:sym typeface="Arial"/>
                </a:rPr>
                <a:t>Ko viņi dzird savus draugus sakām?</a:t>
              </a:r>
            </a:p>
            <a:p>
              <a:pPr marL="269875" lvl="1" indent="-182563"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lv-LV" sz="900" dirty="0">
                  <a:sym typeface="Arial"/>
                </a:rPr>
                <a:t>Ko viņi dzird no kolēģiem?</a:t>
              </a:r>
            </a:p>
            <a:p>
              <a:pPr marL="269875" lvl="1" indent="-182563"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lv-LV" sz="900" dirty="0">
                  <a:sym typeface="Arial"/>
                </a:rPr>
                <a:t>Ko viņi dzird apkārt?</a:t>
              </a:r>
            </a:p>
          </p:txBody>
        </p:sp>
        <p:sp>
          <p:nvSpPr>
            <p:cNvPr id="122" name="Rectangle 121"/>
            <p:cNvSpPr/>
            <p:nvPr/>
          </p:nvSpPr>
          <p:spPr>
            <a:xfrm>
              <a:off x="310109" y="3048380"/>
              <a:ext cx="3766275" cy="138499"/>
            </a:xfrm>
            <a:prstGeom prst="rect">
              <a:avLst/>
            </a:prstGeom>
            <a:ln w="6350">
              <a:noFill/>
            </a:ln>
          </p:spPr>
          <p:txBody>
            <a:bodyPr wrap="square" lIns="72000" tIns="0" rIns="72000" bIns="0">
              <a:spAutoFit/>
            </a:bodyPr>
            <a:lstStyle/>
            <a:p>
              <a:pPr algn="ctr">
                <a:defRPr/>
              </a:pPr>
              <a:r>
                <a:rPr lang="lv-LV" sz="900" b="1" dirty="0">
                  <a:sym typeface="Arial"/>
                </a:rPr>
                <a:t>6. Ko viņi DZIRD?</a:t>
              </a:r>
            </a:p>
          </p:txBody>
        </p:sp>
        <p:cxnSp>
          <p:nvCxnSpPr>
            <p:cNvPr id="123" name="Straight Connector 122"/>
            <p:cNvCxnSpPr/>
            <p:nvPr/>
          </p:nvCxnSpPr>
          <p:spPr>
            <a:xfrm>
              <a:off x="310109" y="3274079"/>
              <a:ext cx="3765550" cy="0"/>
            </a:xfrm>
            <a:prstGeom prst="line">
              <a:avLst/>
            </a:prstGeom>
            <a:ln w="3175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135" name="Group 134"/>
          <p:cNvGrpSpPr/>
          <p:nvPr/>
        </p:nvGrpSpPr>
        <p:grpSpPr>
          <a:xfrm>
            <a:off x="223486" y="232770"/>
            <a:ext cx="6074076" cy="2643597"/>
            <a:chOff x="223486" y="232770"/>
            <a:chExt cx="6074076" cy="2643597"/>
          </a:xfrm>
        </p:grpSpPr>
        <p:grpSp>
          <p:nvGrpSpPr>
            <p:cNvPr id="7" name="Group 6"/>
            <p:cNvGrpSpPr/>
            <p:nvPr/>
          </p:nvGrpSpPr>
          <p:grpSpPr>
            <a:xfrm>
              <a:off x="310319" y="636492"/>
              <a:ext cx="828000" cy="828000"/>
              <a:chOff x="4640246" y="3436941"/>
              <a:chExt cx="123825" cy="123825"/>
            </a:xfrm>
            <a:solidFill>
              <a:schemeClr val="accent2"/>
            </a:solidFill>
          </p:grpSpPr>
          <p:sp>
            <p:nvSpPr>
              <p:cNvPr id="8" name="Freeform 7"/>
              <p:cNvSpPr>
                <a:spLocks noEditPoints="1"/>
              </p:cNvSpPr>
              <p:nvPr/>
            </p:nvSpPr>
            <p:spPr bwMode="auto">
              <a:xfrm>
                <a:off x="4640246" y="3436941"/>
                <a:ext cx="123825" cy="123825"/>
              </a:xfrm>
              <a:custGeom>
                <a:avLst/>
                <a:gdLst>
                  <a:gd name="T0" fmla="*/ 0 w 78"/>
                  <a:gd name="T1" fmla="*/ 0 h 78"/>
                  <a:gd name="T2" fmla="*/ 0 w 78"/>
                  <a:gd name="T3" fmla="*/ 78 h 78"/>
                  <a:gd name="T4" fmla="*/ 78 w 78"/>
                  <a:gd name="T5" fmla="*/ 78 h 78"/>
                  <a:gd name="T6" fmla="*/ 78 w 78"/>
                  <a:gd name="T7" fmla="*/ 0 h 78"/>
                  <a:gd name="T8" fmla="*/ 0 w 78"/>
                  <a:gd name="T9" fmla="*/ 0 h 78"/>
                  <a:gd name="T10" fmla="*/ 74 w 78"/>
                  <a:gd name="T11" fmla="*/ 74 h 78"/>
                  <a:gd name="T12" fmla="*/ 4 w 78"/>
                  <a:gd name="T13" fmla="*/ 74 h 78"/>
                  <a:gd name="T14" fmla="*/ 4 w 78"/>
                  <a:gd name="T15" fmla="*/ 3 h 78"/>
                  <a:gd name="T16" fmla="*/ 74 w 78"/>
                  <a:gd name="T17" fmla="*/ 3 h 78"/>
                  <a:gd name="T18" fmla="*/ 74 w 78"/>
                  <a:gd name="T19" fmla="*/ 7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8" h="78">
                    <a:moveTo>
                      <a:pt x="0" y="0"/>
                    </a:moveTo>
                    <a:lnTo>
                      <a:pt x="0" y="78"/>
                    </a:lnTo>
                    <a:lnTo>
                      <a:pt x="78" y="78"/>
                    </a:lnTo>
                    <a:lnTo>
                      <a:pt x="78" y="0"/>
                    </a:lnTo>
                    <a:lnTo>
                      <a:pt x="0" y="0"/>
                    </a:lnTo>
                    <a:close/>
                    <a:moveTo>
                      <a:pt x="74" y="74"/>
                    </a:moveTo>
                    <a:lnTo>
                      <a:pt x="4" y="74"/>
                    </a:lnTo>
                    <a:lnTo>
                      <a:pt x="4" y="3"/>
                    </a:lnTo>
                    <a:lnTo>
                      <a:pt x="74" y="3"/>
                    </a:lnTo>
                    <a:lnTo>
                      <a:pt x="74" y="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9" name="Freeform 8"/>
              <p:cNvSpPr>
                <a:spLocks noEditPoints="1"/>
              </p:cNvSpPr>
              <p:nvPr/>
            </p:nvSpPr>
            <p:spPr bwMode="auto">
              <a:xfrm>
                <a:off x="4710096" y="3460753"/>
                <a:ext cx="17463" cy="74613"/>
              </a:xfrm>
              <a:custGeom>
                <a:avLst/>
                <a:gdLst>
                  <a:gd name="T0" fmla="*/ 43 w 86"/>
                  <a:gd name="T1" fmla="*/ 66 h 346"/>
                  <a:gd name="T2" fmla="*/ 67 w 86"/>
                  <a:gd name="T3" fmla="*/ 34 h 346"/>
                  <a:gd name="T4" fmla="*/ 34 w 86"/>
                  <a:gd name="T5" fmla="*/ 0 h 346"/>
                  <a:gd name="T6" fmla="*/ 0 w 86"/>
                  <a:gd name="T7" fmla="*/ 34 h 346"/>
                  <a:gd name="T8" fmla="*/ 18 w 86"/>
                  <a:gd name="T9" fmla="*/ 63 h 346"/>
                  <a:gd name="T10" fmla="*/ 18 w 86"/>
                  <a:gd name="T11" fmla="*/ 128 h 346"/>
                  <a:gd name="T12" fmla="*/ 61 w 86"/>
                  <a:gd name="T13" fmla="*/ 159 h 346"/>
                  <a:gd name="T14" fmla="*/ 61 w 86"/>
                  <a:gd name="T15" fmla="*/ 204 h 346"/>
                  <a:gd name="T16" fmla="*/ 17 w 86"/>
                  <a:gd name="T17" fmla="*/ 225 h 346"/>
                  <a:gd name="T18" fmla="*/ 17 w 86"/>
                  <a:gd name="T19" fmla="*/ 283 h 346"/>
                  <a:gd name="T20" fmla="*/ 0 w 86"/>
                  <a:gd name="T21" fmla="*/ 312 h 346"/>
                  <a:gd name="T22" fmla="*/ 33 w 86"/>
                  <a:gd name="T23" fmla="*/ 346 h 346"/>
                  <a:gd name="T24" fmla="*/ 67 w 86"/>
                  <a:gd name="T25" fmla="*/ 312 h 346"/>
                  <a:gd name="T26" fmla="*/ 42 w 86"/>
                  <a:gd name="T27" fmla="*/ 279 h 346"/>
                  <a:gd name="T28" fmla="*/ 42 w 86"/>
                  <a:gd name="T29" fmla="*/ 241 h 346"/>
                  <a:gd name="T30" fmla="*/ 86 w 86"/>
                  <a:gd name="T31" fmla="*/ 220 h 346"/>
                  <a:gd name="T32" fmla="*/ 86 w 86"/>
                  <a:gd name="T33" fmla="*/ 146 h 346"/>
                  <a:gd name="T34" fmla="*/ 43 w 86"/>
                  <a:gd name="T35" fmla="*/ 115 h 346"/>
                  <a:gd name="T36" fmla="*/ 43 w 86"/>
                  <a:gd name="T37" fmla="*/ 66 h 346"/>
                  <a:gd name="T38" fmla="*/ 33 w 86"/>
                  <a:gd name="T39" fmla="*/ 324 h 346"/>
                  <a:gd name="T40" fmla="*/ 22 w 86"/>
                  <a:gd name="T41" fmla="*/ 312 h 346"/>
                  <a:gd name="T42" fmla="*/ 33 w 86"/>
                  <a:gd name="T43" fmla="*/ 300 h 346"/>
                  <a:gd name="T44" fmla="*/ 45 w 86"/>
                  <a:gd name="T45" fmla="*/ 312 h 346"/>
                  <a:gd name="T46" fmla="*/ 33 w 86"/>
                  <a:gd name="T47" fmla="*/ 324 h 346"/>
                  <a:gd name="T48" fmla="*/ 34 w 86"/>
                  <a:gd name="T49" fmla="*/ 22 h 346"/>
                  <a:gd name="T50" fmla="*/ 45 w 86"/>
                  <a:gd name="T51" fmla="*/ 34 h 346"/>
                  <a:gd name="T52" fmla="*/ 34 w 86"/>
                  <a:gd name="T53" fmla="*/ 45 h 346"/>
                  <a:gd name="T54" fmla="*/ 22 w 86"/>
                  <a:gd name="T55" fmla="*/ 34 h 346"/>
                  <a:gd name="T56" fmla="*/ 34 w 86"/>
                  <a:gd name="T57" fmla="*/ 22 h 3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6" h="346">
                    <a:moveTo>
                      <a:pt x="43" y="66"/>
                    </a:moveTo>
                    <a:cubicBezTo>
                      <a:pt x="57" y="62"/>
                      <a:pt x="67" y="49"/>
                      <a:pt x="67" y="34"/>
                    </a:cubicBezTo>
                    <a:cubicBezTo>
                      <a:pt x="67" y="15"/>
                      <a:pt x="52" y="0"/>
                      <a:pt x="34" y="0"/>
                    </a:cubicBezTo>
                    <a:cubicBezTo>
                      <a:pt x="15" y="0"/>
                      <a:pt x="0" y="15"/>
                      <a:pt x="0" y="34"/>
                    </a:cubicBezTo>
                    <a:cubicBezTo>
                      <a:pt x="0" y="46"/>
                      <a:pt x="7" y="58"/>
                      <a:pt x="18" y="63"/>
                    </a:cubicBezTo>
                    <a:cubicBezTo>
                      <a:pt x="18" y="128"/>
                      <a:pt x="18" y="128"/>
                      <a:pt x="18" y="128"/>
                    </a:cubicBezTo>
                    <a:cubicBezTo>
                      <a:pt x="61" y="159"/>
                      <a:pt x="61" y="159"/>
                      <a:pt x="61" y="159"/>
                    </a:cubicBezTo>
                    <a:cubicBezTo>
                      <a:pt x="61" y="204"/>
                      <a:pt x="61" y="204"/>
                      <a:pt x="61" y="204"/>
                    </a:cubicBezTo>
                    <a:cubicBezTo>
                      <a:pt x="17" y="225"/>
                      <a:pt x="17" y="225"/>
                      <a:pt x="17" y="225"/>
                    </a:cubicBezTo>
                    <a:cubicBezTo>
                      <a:pt x="17" y="283"/>
                      <a:pt x="17" y="283"/>
                      <a:pt x="17" y="283"/>
                    </a:cubicBezTo>
                    <a:cubicBezTo>
                      <a:pt x="6" y="289"/>
                      <a:pt x="0" y="299"/>
                      <a:pt x="0" y="312"/>
                    </a:cubicBezTo>
                    <a:cubicBezTo>
                      <a:pt x="0" y="331"/>
                      <a:pt x="15" y="346"/>
                      <a:pt x="33" y="346"/>
                    </a:cubicBezTo>
                    <a:cubicBezTo>
                      <a:pt x="52" y="346"/>
                      <a:pt x="67" y="331"/>
                      <a:pt x="67" y="312"/>
                    </a:cubicBezTo>
                    <a:cubicBezTo>
                      <a:pt x="67" y="296"/>
                      <a:pt x="56" y="283"/>
                      <a:pt x="42" y="279"/>
                    </a:cubicBezTo>
                    <a:cubicBezTo>
                      <a:pt x="42" y="241"/>
                      <a:pt x="42" y="241"/>
                      <a:pt x="42" y="241"/>
                    </a:cubicBezTo>
                    <a:cubicBezTo>
                      <a:pt x="86" y="220"/>
                      <a:pt x="86" y="220"/>
                      <a:pt x="86" y="220"/>
                    </a:cubicBezTo>
                    <a:cubicBezTo>
                      <a:pt x="86" y="146"/>
                      <a:pt x="86" y="146"/>
                      <a:pt x="86" y="146"/>
                    </a:cubicBezTo>
                    <a:cubicBezTo>
                      <a:pt x="43" y="115"/>
                      <a:pt x="43" y="115"/>
                      <a:pt x="43" y="115"/>
                    </a:cubicBezTo>
                    <a:lnTo>
                      <a:pt x="43" y="66"/>
                    </a:lnTo>
                    <a:close/>
                    <a:moveTo>
                      <a:pt x="33" y="324"/>
                    </a:moveTo>
                    <a:cubicBezTo>
                      <a:pt x="27" y="324"/>
                      <a:pt x="22" y="318"/>
                      <a:pt x="22" y="312"/>
                    </a:cubicBezTo>
                    <a:cubicBezTo>
                      <a:pt x="22" y="306"/>
                      <a:pt x="27" y="300"/>
                      <a:pt x="33" y="300"/>
                    </a:cubicBezTo>
                    <a:cubicBezTo>
                      <a:pt x="40" y="300"/>
                      <a:pt x="45" y="306"/>
                      <a:pt x="45" y="312"/>
                    </a:cubicBezTo>
                    <a:cubicBezTo>
                      <a:pt x="45" y="318"/>
                      <a:pt x="40" y="324"/>
                      <a:pt x="33" y="324"/>
                    </a:cubicBezTo>
                    <a:close/>
                    <a:moveTo>
                      <a:pt x="34" y="22"/>
                    </a:moveTo>
                    <a:cubicBezTo>
                      <a:pt x="40" y="22"/>
                      <a:pt x="45" y="27"/>
                      <a:pt x="45" y="34"/>
                    </a:cubicBezTo>
                    <a:cubicBezTo>
                      <a:pt x="45" y="40"/>
                      <a:pt x="40" y="45"/>
                      <a:pt x="34" y="45"/>
                    </a:cubicBezTo>
                    <a:cubicBezTo>
                      <a:pt x="27" y="45"/>
                      <a:pt x="22" y="40"/>
                      <a:pt x="22" y="34"/>
                    </a:cubicBezTo>
                    <a:cubicBezTo>
                      <a:pt x="22" y="27"/>
                      <a:pt x="27" y="22"/>
                      <a:pt x="34" y="2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0" name="Freeform 9"/>
              <p:cNvSpPr>
                <a:spLocks noEditPoints="1"/>
              </p:cNvSpPr>
              <p:nvPr/>
            </p:nvSpPr>
            <p:spPr bwMode="auto">
              <a:xfrm>
                <a:off x="4652949" y="3448053"/>
                <a:ext cx="100013" cy="101600"/>
              </a:xfrm>
              <a:custGeom>
                <a:avLst/>
                <a:gdLst>
                  <a:gd name="T0" fmla="*/ 410 w 470"/>
                  <a:gd name="T1" fmla="*/ 70 h 474"/>
                  <a:gd name="T2" fmla="*/ 235 w 470"/>
                  <a:gd name="T3" fmla="*/ 32 h 474"/>
                  <a:gd name="T4" fmla="*/ 59 w 470"/>
                  <a:gd name="T5" fmla="*/ 70 h 474"/>
                  <a:gd name="T6" fmla="*/ 0 w 470"/>
                  <a:gd name="T7" fmla="*/ 173 h 474"/>
                  <a:gd name="T8" fmla="*/ 61 w 470"/>
                  <a:gd name="T9" fmla="*/ 350 h 474"/>
                  <a:gd name="T10" fmla="*/ 181 w 470"/>
                  <a:gd name="T11" fmla="*/ 474 h 474"/>
                  <a:gd name="T12" fmla="*/ 289 w 470"/>
                  <a:gd name="T13" fmla="*/ 474 h 474"/>
                  <a:gd name="T14" fmla="*/ 409 w 470"/>
                  <a:gd name="T15" fmla="*/ 350 h 474"/>
                  <a:gd name="T16" fmla="*/ 470 w 470"/>
                  <a:gd name="T17" fmla="*/ 173 h 474"/>
                  <a:gd name="T18" fmla="*/ 86 w 470"/>
                  <a:gd name="T19" fmla="*/ 390 h 474"/>
                  <a:gd name="T20" fmla="*/ 101 w 470"/>
                  <a:gd name="T21" fmla="*/ 342 h 474"/>
                  <a:gd name="T22" fmla="*/ 127 w 470"/>
                  <a:gd name="T23" fmla="*/ 325 h 474"/>
                  <a:gd name="T24" fmla="*/ 91 w 470"/>
                  <a:gd name="T25" fmla="*/ 319 h 474"/>
                  <a:gd name="T26" fmla="*/ 25 w 470"/>
                  <a:gd name="T27" fmla="*/ 298 h 474"/>
                  <a:gd name="T28" fmla="*/ 37 w 470"/>
                  <a:gd name="T29" fmla="*/ 259 h 474"/>
                  <a:gd name="T30" fmla="*/ 102 w 470"/>
                  <a:gd name="T31" fmla="*/ 247 h 474"/>
                  <a:gd name="T32" fmla="*/ 37 w 470"/>
                  <a:gd name="T33" fmla="*/ 233 h 474"/>
                  <a:gd name="T34" fmla="*/ 25 w 470"/>
                  <a:gd name="T35" fmla="*/ 187 h 474"/>
                  <a:gd name="T36" fmla="*/ 91 w 470"/>
                  <a:gd name="T37" fmla="*/ 168 h 474"/>
                  <a:gd name="T38" fmla="*/ 127 w 470"/>
                  <a:gd name="T39" fmla="*/ 162 h 474"/>
                  <a:gd name="T40" fmla="*/ 102 w 470"/>
                  <a:gd name="T41" fmla="*/ 145 h 474"/>
                  <a:gd name="T42" fmla="*/ 85 w 470"/>
                  <a:gd name="T43" fmla="*/ 85 h 474"/>
                  <a:gd name="T44" fmla="*/ 221 w 470"/>
                  <a:gd name="T45" fmla="*/ 52 h 474"/>
                  <a:gd name="T46" fmla="*/ 208 w 470"/>
                  <a:gd name="T47" fmla="*/ 233 h 474"/>
                  <a:gd name="T48" fmla="*/ 175 w 470"/>
                  <a:gd name="T49" fmla="*/ 246 h 474"/>
                  <a:gd name="T50" fmla="*/ 208 w 470"/>
                  <a:gd name="T51" fmla="*/ 259 h 474"/>
                  <a:gd name="T52" fmla="*/ 221 w 470"/>
                  <a:gd name="T53" fmla="*/ 424 h 474"/>
                  <a:gd name="T54" fmla="*/ 86 w 470"/>
                  <a:gd name="T55" fmla="*/ 390 h 474"/>
                  <a:gd name="T56" fmla="*/ 68 w 470"/>
                  <a:gd name="T57" fmla="*/ 235 h 474"/>
                  <a:gd name="T58" fmla="*/ 68 w 470"/>
                  <a:gd name="T59" fmla="*/ 258 h 474"/>
                  <a:gd name="T60" fmla="*/ 397 w 470"/>
                  <a:gd name="T61" fmla="*/ 327 h 474"/>
                  <a:gd name="T62" fmla="*/ 361 w 470"/>
                  <a:gd name="T63" fmla="*/ 306 h 474"/>
                  <a:gd name="T64" fmla="*/ 361 w 470"/>
                  <a:gd name="T65" fmla="*/ 344 h 474"/>
                  <a:gd name="T66" fmla="*/ 383 w 470"/>
                  <a:gd name="T67" fmla="*/ 349 h 474"/>
                  <a:gd name="T68" fmla="*/ 288 w 470"/>
                  <a:gd name="T69" fmla="*/ 445 h 474"/>
                  <a:gd name="T70" fmla="*/ 246 w 470"/>
                  <a:gd name="T71" fmla="*/ 259 h 474"/>
                  <a:gd name="T72" fmla="*/ 276 w 470"/>
                  <a:gd name="T73" fmla="*/ 265 h 474"/>
                  <a:gd name="T74" fmla="*/ 276 w 470"/>
                  <a:gd name="T75" fmla="*/ 227 h 474"/>
                  <a:gd name="T76" fmla="*/ 246 w 470"/>
                  <a:gd name="T77" fmla="*/ 233 h 474"/>
                  <a:gd name="T78" fmla="*/ 286 w 470"/>
                  <a:gd name="T79" fmla="*/ 30 h 474"/>
                  <a:gd name="T80" fmla="*/ 385 w 470"/>
                  <a:gd name="T81" fmla="*/ 135 h 474"/>
                  <a:gd name="T82" fmla="*/ 361 w 470"/>
                  <a:gd name="T83" fmla="*/ 144 h 474"/>
                  <a:gd name="T84" fmla="*/ 361 w 470"/>
                  <a:gd name="T85" fmla="*/ 181 h 474"/>
                  <a:gd name="T86" fmla="*/ 397 w 470"/>
                  <a:gd name="T87" fmla="*/ 158 h 474"/>
                  <a:gd name="T88" fmla="*/ 444 w 470"/>
                  <a:gd name="T89" fmla="*/ 233 h 474"/>
                  <a:gd name="T90" fmla="*/ 404 w 470"/>
                  <a:gd name="T91" fmla="*/ 213 h 474"/>
                  <a:gd name="T92" fmla="*/ 404 w 470"/>
                  <a:gd name="T93" fmla="*/ 280 h 474"/>
                  <a:gd name="T94" fmla="*/ 444 w 470"/>
                  <a:gd name="T95" fmla="*/ 259 h 474"/>
                  <a:gd name="T96" fmla="*/ 397 w 470"/>
                  <a:gd name="T97" fmla="*/ 327 h 474"/>
                  <a:gd name="T98" fmla="*/ 404 w 470"/>
                  <a:gd name="T99" fmla="*/ 258 h 474"/>
                  <a:gd name="T100" fmla="*/ 404 w 470"/>
                  <a:gd name="T101" fmla="*/ 235 h 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470" h="474">
                    <a:moveTo>
                      <a:pt x="410" y="136"/>
                    </a:moveTo>
                    <a:cubicBezTo>
                      <a:pt x="410" y="70"/>
                      <a:pt x="410" y="70"/>
                      <a:pt x="410" y="70"/>
                    </a:cubicBezTo>
                    <a:cubicBezTo>
                      <a:pt x="285" y="0"/>
                      <a:pt x="285" y="0"/>
                      <a:pt x="285" y="0"/>
                    </a:cubicBezTo>
                    <a:cubicBezTo>
                      <a:pt x="235" y="32"/>
                      <a:pt x="235" y="32"/>
                      <a:pt x="235" y="32"/>
                    </a:cubicBezTo>
                    <a:cubicBezTo>
                      <a:pt x="184" y="0"/>
                      <a:pt x="184" y="0"/>
                      <a:pt x="184" y="0"/>
                    </a:cubicBezTo>
                    <a:cubicBezTo>
                      <a:pt x="59" y="70"/>
                      <a:pt x="59" y="70"/>
                      <a:pt x="59" y="70"/>
                    </a:cubicBezTo>
                    <a:cubicBezTo>
                      <a:pt x="59" y="136"/>
                      <a:pt x="59" y="136"/>
                      <a:pt x="59" y="136"/>
                    </a:cubicBezTo>
                    <a:cubicBezTo>
                      <a:pt x="0" y="173"/>
                      <a:pt x="0" y="173"/>
                      <a:pt x="0" y="173"/>
                    </a:cubicBezTo>
                    <a:cubicBezTo>
                      <a:pt x="0" y="313"/>
                      <a:pt x="0" y="313"/>
                      <a:pt x="0" y="313"/>
                    </a:cubicBezTo>
                    <a:cubicBezTo>
                      <a:pt x="61" y="350"/>
                      <a:pt x="61" y="350"/>
                      <a:pt x="61" y="350"/>
                    </a:cubicBezTo>
                    <a:cubicBezTo>
                      <a:pt x="61" y="405"/>
                      <a:pt x="61" y="405"/>
                      <a:pt x="61" y="405"/>
                    </a:cubicBezTo>
                    <a:cubicBezTo>
                      <a:pt x="181" y="474"/>
                      <a:pt x="181" y="474"/>
                      <a:pt x="181" y="474"/>
                    </a:cubicBezTo>
                    <a:cubicBezTo>
                      <a:pt x="235" y="445"/>
                      <a:pt x="235" y="445"/>
                      <a:pt x="235" y="445"/>
                    </a:cubicBezTo>
                    <a:cubicBezTo>
                      <a:pt x="289" y="474"/>
                      <a:pt x="289" y="474"/>
                      <a:pt x="289" y="474"/>
                    </a:cubicBezTo>
                    <a:cubicBezTo>
                      <a:pt x="409" y="405"/>
                      <a:pt x="409" y="405"/>
                      <a:pt x="409" y="405"/>
                    </a:cubicBezTo>
                    <a:cubicBezTo>
                      <a:pt x="409" y="350"/>
                      <a:pt x="409" y="350"/>
                      <a:pt x="409" y="350"/>
                    </a:cubicBezTo>
                    <a:cubicBezTo>
                      <a:pt x="470" y="313"/>
                      <a:pt x="470" y="313"/>
                      <a:pt x="470" y="313"/>
                    </a:cubicBezTo>
                    <a:cubicBezTo>
                      <a:pt x="470" y="173"/>
                      <a:pt x="470" y="173"/>
                      <a:pt x="470" y="173"/>
                    </a:cubicBezTo>
                    <a:lnTo>
                      <a:pt x="410" y="136"/>
                    </a:lnTo>
                    <a:close/>
                    <a:moveTo>
                      <a:pt x="86" y="390"/>
                    </a:moveTo>
                    <a:cubicBezTo>
                      <a:pt x="86" y="349"/>
                      <a:pt x="86" y="349"/>
                      <a:pt x="86" y="349"/>
                    </a:cubicBezTo>
                    <a:cubicBezTo>
                      <a:pt x="101" y="342"/>
                      <a:pt x="101" y="342"/>
                      <a:pt x="101" y="342"/>
                    </a:cubicBezTo>
                    <a:cubicBezTo>
                      <a:pt x="103" y="343"/>
                      <a:pt x="106" y="344"/>
                      <a:pt x="108" y="344"/>
                    </a:cubicBezTo>
                    <a:cubicBezTo>
                      <a:pt x="119" y="344"/>
                      <a:pt x="127" y="335"/>
                      <a:pt x="127" y="325"/>
                    </a:cubicBezTo>
                    <a:cubicBezTo>
                      <a:pt x="127" y="315"/>
                      <a:pt x="119" y="306"/>
                      <a:pt x="108" y="306"/>
                    </a:cubicBezTo>
                    <a:cubicBezTo>
                      <a:pt x="100" y="306"/>
                      <a:pt x="93" y="312"/>
                      <a:pt x="91" y="319"/>
                    </a:cubicBezTo>
                    <a:cubicBezTo>
                      <a:pt x="72" y="327"/>
                      <a:pt x="72" y="327"/>
                      <a:pt x="72" y="327"/>
                    </a:cubicBezTo>
                    <a:cubicBezTo>
                      <a:pt x="25" y="298"/>
                      <a:pt x="25" y="298"/>
                      <a:pt x="25" y="298"/>
                    </a:cubicBezTo>
                    <a:cubicBezTo>
                      <a:pt x="25" y="259"/>
                      <a:pt x="25" y="259"/>
                      <a:pt x="25" y="259"/>
                    </a:cubicBezTo>
                    <a:cubicBezTo>
                      <a:pt x="37" y="259"/>
                      <a:pt x="37" y="259"/>
                      <a:pt x="37" y="259"/>
                    </a:cubicBezTo>
                    <a:cubicBezTo>
                      <a:pt x="42" y="271"/>
                      <a:pt x="54" y="280"/>
                      <a:pt x="68" y="280"/>
                    </a:cubicBezTo>
                    <a:cubicBezTo>
                      <a:pt x="87" y="280"/>
                      <a:pt x="102" y="265"/>
                      <a:pt x="102" y="247"/>
                    </a:cubicBezTo>
                    <a:cubicBezTo>
                      <a:pt x="102" y="228"/>
                      <a:pt x="87" y="213"/>
                      <a:pt x="68" y="213"/>
                    </a:cubicBezTo>
                    <a:cubicBezTo>
                      <a:pt x="54" y="213"/>
                      <a:pt x="42" y="221"/>
                      <a:pt x="37" y="233"/>
                    </a:cubicBezTo>
                    <a:cubicBezTo>
                      <a:pt x="25" y="233"/>
                      <a:pt x="25" y="233"/>
                      <a:pt x="25" y="233"/>
                    </a:cubicBezTo>
                    <a:cubicBezTo>
                      <a:pt x="25" y="187"/>
                      <a:pt x="25" y="187"/>
                      <a:pt x="25" y="187"/>
                    </a:cubicBezTo>
                    <a:cubicBezTo>
                      <a:pt x="72" y="158"/>
                      <a:pt x="72" y="158"/>
                      <a:pt x="72" y="158"/>
                    </a:cubicBezTo>
                    <a:cubicBezTo>
                      <a:pt x="91" y="168"/>
                      <a:pt x="91" y="168"/>
                      <a:pt x="91" y="168"/>
                    </a:cubicBezTo>
                    <a:cubicBezTo>
                      <a:pt x="93" y="175"/>
                      <a:pt x="100" y="181"/>
                      <a:pt x="108" y="181"/>
                    </a:cubicBezTo>
                    <a:cubicBezTo>
                      <a:pt x="119" y="181"/>
                      <a:pt x="127" y="173"/>
                      <a:pt x="127" y="162"/>
                    </a:cubicBezTo>
                    <a:cubicBezTo>
                      <a:pt x="127" y="152"/>
                      <a:pt x="119" y="144"/>
                      <a:pt x="108" y="144"/>
                    </a:cubicBezTo>
                    <a:cubicBezTo>
                      <a:pt x="106" y="144"/>
                      <a:pt x="104" y="144"/>
                      <a:pt x="102" y="145"/>
                    </a:cubicBezTo>
                    <a:cubicBezTo>
                      <a:pt x="85" y="135"/>
                      <a:pt x="85" y="135"/>
                      <a:pt x="85" y="135"/>
                    </a:cubicBezTo>
                    <a:cubicBezTo>
                      <a:pt x="85" y="85"/>
                      <a:pt x="85" y="85"/>
                      <a:pt x="85" y="85"/>
                    </a:cubicBezTo>
                    <a:cubicBezTo>
                      <a:pt x="183" y="30"/>
                      <a:pt x="183" y="30"/>
                      <a:pt x="183" y="30"/>
                    </a:cubicBezTo>
                    <a:cubicBezTo>
                      <a:pt x="221" y="52"/>
                      <a:pt x="221" y="52"/>
                      <a:pt x="221" y="52"/>
                    </a:cubicBezTo>
                    <a:cubicBezTo>
                      <a:pt x="221" y="233"/>
                      <a:pt x="221" y="233"/>
                      <a:pt x="221" y="233"/>
                    </a:cubicBezTo>
                    <a:cubicBezTo>
                      <a:pt x="208" y="233"/>
                      <a:pt x="208" y="233"/>
                      <a:pt x="208" y="233"/>
                    </a:cubicBezTo>
                    <a:cubicBezTo>
                      <a:pt x="205" y="230"/>
                      <a:pt x="200" y="227"/>
                      <a:pt x="194" y="227"/>
                    </a:cubicBezTo>
                    <a:cubicBezTo>
                      <a:pt x="184" y="227"/>
                      <a:pt x="175" y="235"/>
                      <a:pt x="175" y="246"/>
                    </a:cubicBezTo>
                    <a:cubicBezTo>
                      <a:pt x="175" y="256"/>
                      <a:pt x="184" y="265"/>
                      <a:pt x="194" y="265"/>
                    </a:cubicBezTo>
                    <a:cubicBezTo>
                      <a:pt x="199" y="265"/>
                      <a:pt x="204" y="262"/>
                      <a:pt x="208" y="259"/>
                    </a:cubicBezTo>
                    <a:cubicBezTo>
                      <a:pt x="221" y="259"/>
                      <a:pt x="221" y="259"/>
                      <a:pt x="221" y="259"/>
                    </a:cubicBezTo>
                    <a:cubicBezTo>
                      <a:pt x="221" y="424"/>
                      <a:pt x="221" y="424"/>
                      <a:pt x="221" y="424"/>
                    </a:cubicBezTo>
                    <a:cubicBezTo>
                      <a:pt x="181" y="445"/>
                      <a:pt x="181" y="445"/>
                      <a:pt x="181" y="445"/>
                    </a:cubicBezTo>
                    <a:lnTo>
                      <a:pt x="86" y="390"/>
                    </a:lnTo>
                    <a:close/>
                    <a:moveTo>
                      <a:pt x="57" y="247"/>
                    </a:moveTo>
                    <a:cubicBezTo>
                      <a:pt x="57" y="240"/>
                      <a:pt x="62" y="235"/>
                      <a:pt x="68" y="235"/>
                    </a:cubicBezTo>
                    <a:cubicBezTo>
                      <a:pt x="75" y="235"/>
                      <a:pt x="80" y="240"/>
                      <a:pt x="80" y="247"/>
                    </a:cubicBezTo>
                    <a:cubicBezTo>
                      <a:pt x="80" y="253"/>
                      <a:pt x="75" y="258"/>
                      <a:pt x="68" y="258"/>
                    </a:cubicBezTo>
                    <a:cubicBezTo>
                      <a:pt x="62" y="258"/>
                      <a:pt x="57" y="253"/>
                      <a:pt x="57" y="247"/>
                    </a:cubicBezTo>
                    <a:close/>
                    <a:moveTo>
                      <a:pt x="397" y="327"/>
                    </a:moveTo>
                    <a:cubicBezTo>
                      <a:pt x="379" y="319"/>
                      <a:pt x="379" y="319"/>
                      <a:pt x="379" y="319"/>
                    </a:cubicBezTo>
                    <a:cubicBezTo>
                      <a:pt x="376" y="312"/>
                      <a:pt x="369" y="306"/>
                      <a:pt x="361" y="306"/>
                    </a:cubicBezTo>
                    <a:cubicBezTo>
                      <a:pt x="351" y="306"/>
                      <a:pt x="342" y="315"/>
                      <a:pt x="342" y="325"/>
                    </a:cubicBezTo>
                    <a:cubicBezTo>
                      <a:pt x="342" y="335"/>
                      <a:pt x="351" y="344"/>
                      <a:pt x="361" y="344"/>
                    </a:cubicBezTo>
                    <a:cubicBezTo>
                      <a:pt x="364" y="344"/>
                      <a:pt x="366" y="343"/>
                      <a:pt x="368" y="342"/>
                    </a:cubicBezTo>
                    <a:cubicBezTo>
                      <a:pt x="383" y="349"/>
                      <a:pt x="383" y="349"/>
                      <a:pt x="383" y="349"/>
                    </a:cubicBezTo>
                    <a:cubicBezTo>
                      <a:pt x="383" y="390"/>
                      <a:pt x="383" y="390"/>
                      <a:pt x="383" y="390"/>
                    </a:cubicBezTo>
                    <a:cubicBezTo>
                      <a:pt x="288" y="445"/>
                      <a:pt x="288" y="445"/>
                      <a:pt x="288" y="445"/>
                    </a:cubicBezTo>
                    <a:cubicBezTo>
                      <a:pt x="246" y="422"/>
                      <a:pt x="246" y="422"/>
                      <a:pt x="246" y="422"/>
                    </a:cubicBezTo>
                    <a:cubicBezTo>
                      <a:pt x="246" y="259"/>
                      <a:pt x="246" y="259"/>
                      <a:pt x="246" y="259"/>
                    </a:cubicBezTo>
                    <a:cubicBezTo>
                      <a:pt x="263" y="259"/>
                      <a:pt x="263" y="259"/>
                      <a:pt x="263" y="259"/>
                    </a:cubicBezTo>
                    <a:cubicBezTo>
                      <a:pt x="266" y="262"/>
                      <a:pt x="271" y="265"/>
                      <a:pt x="276" y="265"/>
                    </a:cubicBezTo>
                    <a:cubicBezTo>
                      <a:pt x="287" y="265"/>
                      <a:pt x="295" y="256"/>
                      <a:pt x="295" y="246"/>
                    </a:cubicBezTo>
                    <a:cubicBezTo>
                      <a:pt x="295" y="235"/>
                      <a:pt x="287" y="227"/>
                      <a:pt x="276" y="227"/>
                    </a:cubicBezTo>
                    <a:cubicBezTo>
                      <a:pt x="271" y="227"/>
                      <a:pt x="266" y="230"/>
                      <a:pt x="262" y="233"/>
                    </a:cubicBezTo>
                    <a:cubicBezTo>
                      <a:pt x="246" y="233"/>
                      <a:pt x="246" y="233"/>
                      <a:pt x="246" y="233"/>
                    </a:cubicBezTo>
                    <a:cubicBezTo>
                      <a:pt x="246" y="54"/>
                      <a:pt x="246" y="54"/>
                      <a:pt x="246" y="54"/>
                    </a:cubicBezTo>
                    <a:cubicBezTo>
                      <a:pt x="286" y="30"/>
                      <a:pt x="286" y="30"/>
                      <a:pt x="286" y="30"/>
                    </a:cubicBezTo>
                    <a:cubicBezTo>
                      <a:pt x="385" y="85"/>
                      <a:pt x="385" y="85"/>
                      <a:pt x="385" y="85"/>
                    </a:cubicBezTo>
                    <a:cubicBezTo>
                      <a:pt x="385" y="135"/>
                      <a:pt x="385" y="135"/>
                      <a:pt x="385" y="135"/>
                    </a:cubicBezTo>
                    <a:cubicBezTo>
                      <a:pt x="368" y="145"/>
                      <a:pt x="368" y="145"/>
                      <a:pt x="368" y="145"/>
                    </a:cubicBezTo>
                    <a:cubicBezTo>
                      <a:pt x="366" y="144"/>
                      <a:pt x="364" y="144"/>
                      <a:pt x="361" y="144"/>
                    </a:cubicBezTo>
                    <a:cubicBezTo>
                      <a:pt x="351" y="144"/>
                      <a:pt x="342" y="152"/>
                      <a:pt x="342" y="162"/>
                    </a:cubicBezTo>
                    <a:cubicBezTo>
                      <a:pt x="342" y="173"/>
                      <a:pt x="351" y="181"/>
                      <a:pt x="361" y="181"/>
                    </a:cubicBezTo>
                    <a:cubicBezTo>
                      <a:pt x="370" y="181"/>
                      <a:pt x="377" y="175"/>
                      <a:pt x="379" y="168"/>
                    </a:cubicBezTo>
                    <a:cubicBezTo>
                      <a:pt x="397" y="158"/>
                      <a:pt x="397" y="158"/>
                      <a:pt x="397" y="158"/>
                    </a:cubicBezTo>
                    <a:cubicBezTo>
                      <a:pt x="444" y="187"/>
                      <a:pt x="444" y="187"/>
                      <a:pt x="444" y="187"/>
                    </a:cubicBezTo>
                    <a:cubicBezTo>
                      <a:pt x="444" y="233"/>
                      <a:pt x="444" y="233"/>
                      <a:pt x="444" y="233"/>
                    </a:cubicBezTo>
                    <a:cubicBezTo>
                      <a:pt x="435" y="233"/>
                      <a:pt x="435" y="233"/>
                      <a:pt x="435" y="233"/>
                    </a:cubicBezTo>
                    <a:cubicBezTo>
                      <a:pt x="430" y="221"/>
                      <a:pt x="418" y="213"/>
                      <a:pt x="404" y="213"/>
                    </a:cubicBezTo>
                    <a:cubicBezTo>
                      <a:pt x="385" y="213"/>
                      <a:pt x="370" y="228"/>
                      <a:pt x="370" y="247"/>
                    </a:cubicBezTo>
                    <a:cubicBezTo>
                      <a:pt x="370" y="265"/>
                      <a:pt x="385" y="280"/>
                      <a:pt x="404" y="280"/>
                    </a:cubicBezTo>
                    <a:cubicBezTo>
                      <a:pt x="418" y="280"/>
                      <a:pt x="431" y="271"/>
                      <a:pt x="435" y="259"/>
                    </a:cubicBezTo>
                    <a:cubicBezTo>
                      <a:pt x="444" y="259"/>
                      <a:pt x="444" y="259"/>
                      <a:pt x="444" y="259"/>
                    </a:cubicBezTo>
                    <a:cubicBezTo>
                      <a:pt x="444" y="298"/>
                      <a:pt x="444" y="298"/>
                      <a:pt x="444" y="298"/>
                    </a:cubicBezTo>
                    <a:lnTo>
                      <a:pt x="397" y="327"/>
                    </a:lnTo>
                    <a:close/>
                    <a:moveTo>
                      <a:pt x="416" y="247"/>
                    </a:moveTo>
                    <a:cubicBezTo>
                      <a:pt x="416" y="253"/>
                      <a:pt x="410" y="258"/>
                      <a:pt x="404" y="258"/>
                    </a:cubicBezTo>
                    <a:cubicBezTo>
                      <a:pt x="398" y="258"/>
                      <a:pt x="392" y="253"/>
                      <a:pt x="392" y="247"/>
                    </a:cubicBezTo>
                    <a:cubicBezTo>
                      <a:pt x="392" y="240"/>
                      <a:pt x="398" y="235"/>
                      <a:pt x="404" y="235"/>
                    </a:cubicBezTo>
                    <a:cubicBezTo>
                      <a:pt x="410" y="235"/>
                      <a:pt x="416" y="240"/>
                      <a:pt x="416" y="24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11" name="Freeform 10"/>
              <p:cNvSpPr>
                <a:spLocks noEditPoints="1"/>
              </p:cNvSpPr>
              <p:nvPr/>
            </p:nvSpPr>
            <p:spPr bwMode="auto">
              <a:xfrm>
                <a:off x="4676775" y="3460750"/>
                <a:ext cx="19050" cy="74613"/>
              </a:xfrm>
              <a:custGeom>
                <a:avLst/>
                <a:gdLst>
                  <a:gd name="T0" fmla="*/ 70 w 88"/>
                  <a:gd name="T1" fmla="*/ 284 h 348"/>
                  <a:gd name="T2" fmla="*/ 70 w 88"/>
                  <a:gd name="T3" fmla="*/ 226 h 348"/>
                  <a:gd name="T4" fmla="*/ 25 w 88"/>
                  <a:gd name="T5" fmla="*/ 205 h 348"/>
                  <a:gd name="T6" fmla="*/ 25 w 88"/>
                  <a:gd name="T7" fmla="*/ 160 h 348"/>
                  <a:gd name="T8" fmla="*/ 69 w 88"/>
                  <a:gd name="T9" fmla="*/ 129 h 348"/>
                  <a:gd name="T10" fmla="*/ 69 w 88"/>
                  <a:gd name="T11" fmla="*/ 64 h 348"/>
                  <a:gd name="T12" fmla="*/ 87 w 88"/>
                  <a:gd name="T13" fmla="*/ 34 h 348"/>
                  <a:gd name="T14" fmla="*/ 54 w 88"/>
                  <a:gd name="T15" fmla="*/ 0 h 348"/>
                  <a:gd name="T16" fmla="*/ 20 w 88"/>
                  <a:gd name="T17" fmla="*/ 34 h 348"/>
                  <a:gd name="T18" fmla="*/ 44 w 88"/>
                  <a:gd name="T19" fmla="*/ 66 h 348"/>
                  <a:gd name="T20" fmla="*/ 43 w 88"/>
                  <a:gd name="T21" fmla="*/ 67 h 348"/>
                  <a:gd name="T22" fmla="*/ 43 w 88"/>
                  <a:gd name="T23" fmla="*/ 116 h 348"/>
                  <a:gd name="T24" fmla="*/ 0 w 88"/>
                  <a:gd name="T25" fmla="*/ 147 h 348"/>
                  <a:gd name="T26" fmla="*/ 0 w 88"/>
                  <a:gd name="T27" fmla="*/ 221 h 348"/>
                  <a:gd name="T28" fmla="*/ 45 w 88"/>
                  <a:gd name="T29" fmla="*/ 242 h 348"/>
                  <a:gd name="T30" fmla="*/ 45 w 88"/>
                  <a:gd name="T31" fmla="*/ 282 h 348"/>
                  <a:gd name="T32" fmla="*/ 20 w 88"/>
                  <a:gd name="T33" fmla="*/ 314 h 348"/>
                  <a:gd name="T34" fmla="*/ 54 w 88"/>
                  <a:gd name="T35" fmla="*/ 348 h 348"/>
                  <a:gd name="T36" fmla="*/ 88 w 88"/>
                  <a:gd name="T37" fmla="*/ 314 h 348"/>
                  <a:gd name="T38" fmla="*/ 70 w 88"/>
                  <a:gd name="T39" fmla="*/ 284 h 348"/>
                  <a:gd name="T40" fmla="*/ 54 w 88"/>
                  <a:gd name="T41" fmla="*/ 22 h 348"/>
                  <a:gd name="T42" fmla="*/ 65 w 88"/>
                  <a:gd name="T43" fmla="*/ 34 h 348"/>
                  <a:gd name="T44" fmla="*/ 54 w 88"/>
                  <a:gd name="T45" fmla="*/ 46 h 348"/>
                  <a:gd name="T46" fmla="*/ 42 w 88"/>
                  <a:gd name="T47" fmla="*/ 34 h 348"/>
                  <a:gd name="T48" fmla="*/ 54 w 88"/>
                  <a:gd name="T49" fmla="*/ 22 h 348"/>
                  <a:gd name="T50" fmla="*/ 54 w 88"/>
                  <a:gd name="T51" fmla="*/ 326 h 348"/>
                  <a:gd name="T52" fmla="*/ 42 w 88"/>
                  <a:gd name="T53" fmla="*/ 314 h 348"/>
                  <a:gd name="T54" fmla="*/ 54 w 88"/>
                  <a:gd name="T55" fmla="*/ 302 h 348"/>
                  <a:gd name="T56" fmla="*/ 66 w 88"/>
                  <a:gd name="T57" fmla="*/ 314 h 348"/>
                  <a:gd name="T58" fmla="*/ 54 w 88"/>
                  <a:gd name="T59" fmla="*/ 326 h 3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88" h="348">
                    <a:moveTo>
                      <a:pt x="70" y="284"/>
                    </a:moveTo>
                    <a:cubicBezTo>
                      <a:pt x="70" y="226"/>
                      <a:pt x="70" y="226"/>
                      <a:pt x="70" y="226"/>
                    </a:cubicBezTo>
                    <a:cubicBezTo>
                      <a:pt x="25" y="205"/>
                      <a:pt x="25" y="205"/>
                      <a:pt x="25" y="205"/>
                    </a:cubicBezTo>
                    <a:cubicBezTo>
                      <a:pt x="25" y="160"/>
                      <a:pt x="25" y="160"/>
                      <a:pt x="25" y="160"/>
                    </a:cubicBezTo>
                    <a:cubicBezTo>
                      <a:pt x="69" y="129"/>
                      <a:pt x="69" y="129"/>
                      <a:pt x="69" y="129"/>
                    </a:cubicBezTo>
                    <a:cubicBezTo>
                      <a:pt x="69" y="64"/>
                      <a:pt x="69" y="64"/>
                      <a:pt x="69" y="64"/>
                    </a:cubicBezTo>
                    <a:cubicBezTo>
                      <a:pt x="80" y="59"/>
                      <a:pt x="87" y="47"/>
                      <a:pt x="87" y="34"/>
                    </a:cubicBezTo>
                    <a:cubicBezTo>
                      <a:pt x="87" y="15"/>
                      <a:pt x="72" y="0"/>
                      <a:pt x="54" y="0"/>
                    </a:cubicBezTo>
                    <a:cubicBezTo>
                      <a:pt x="35" y="0"/>
                      <a:pt x="20" y="15"/>
                      <a:pt x="20" y="34"/>
                    </a:cubicBezTo>
                    <a:cubicBezTo>
                      <a:pt x="20" y="49"/>
                      <a:pt x="30" y="62"/>
                      <a:pt x="44" y="66"/>
                    </a:cubicBezTo>
                    <a:cubicBezTo>
                      <a:pt x="43" y="67"/>
                      <a:pt x="43" y="67"/>
                      <a:pt x="43" y="67"/>
                    </a:cubicBezTo>
                    <a:cubicBezTo>
                      <a:pt x="43" y="116"/>
                      <a:pt x="43" y="116"/>
                      <a:pt x="43" y="116"/>
                    </a:cubicBezTo>
                    <a:cubicBezTo>
                      <a:pt x="0" y="147"/>
                      <a:pt x="0" y="147"/>
                      <a:pt x="0" y="147"/>
                    </a:cubicBezTo>
                    <a:cubicBezTo>
                      <a:pt x="0" y="221"/>
                      <a:pt x="0" y="221"/>
                      <a:pt x="0" y="221"/>
                    </a:cubicBezTo>
                    <a:cubicBezTo>
                      <a:pt x="45" y="242"/>
                      <a:pt x="45" y="242"/>
                      <a:pt x="45" y="242"/>
                    </a:cubicBezTo>
                    <a:cubicBezTo>
                      <a:pt x="45" y="282"/>
                      <a:pt x="45" y="282"/>
                      <a:pt x="45" y="282"/>
                    </a:cubicBezTo>
                    <a:cubicBezTo>
                      <a:pt x="31" y="286"/>
                      <a:pt x="20" y="299"/>
                      <a:pt x="20" y="314"/>
                    </a:cubicBezTo>
                    <a:cubicBezTo>
                      <a:pt x="20" y="333"/>
                      <a:pt x="35" y="348"/>
                      <a:pt x="54" y="348"/>
                    </a:cubicBezTo>
                    <a:cubicBezTo>
                      <a:pt x="73" y="348"/>
                      <a:pt x="88" y="333"/>
                      <a:pt x="88" y="314"/>
                    </a:cubicBezTo>
                    <a:cubicBezTo>
                      <a:pt x="88" y="301"/>
                      <a:pt x="81" y="290"/>
                      <a:pt x="70" y="284"/>
                    </a:cubicBezTo>
                    <a:close/>
                    <a:moveTo>
                      <a:pt x="54" y="22"/>
                    </a:moveTo>
                    <a:cubicBezTo>
                      <a:pt x="60" y="22"/>
                      <a:pt x="65" y="28"/>
                      <a:pt x="65" y="34"/>
                    </a:cubicBezTo>
                    <a:cubicBezTo>
                      <a:pt x="65" y="40"/>
                      <a:pt x="60" y="46"/>
                      <a:pt x="54" y="46"/>
                    </a:cubicBezTo>
                    <a:cubicBezTo>
                      <a:pt x="47" y="46"/>
                      <a:pt x="42" y="40"/>
                      <a:pt x="42" y="34"/>
                    </a:cubicBezTo>
                    <a:cubicBezTo>
                      <a:pt x="42" y="28"/>
                      <a:pt x="47" y="22"/>
                      <a:pt x="54" y="22"/>
                    </a:cubicBezTo>
                    <a:close/>
                    <a:moveTo>
                      <a:pt x="54" y="326"/>
                    </a:moveTo>
                    <a:cubicBezTo>
                      <a:pt x="48" y="326"/>
                      <a:pt x="42" y="320"/>
                      <a:pt x="42" y="314"/>
                    </a:cubicBezTo>
                    <a:cubicBezTo>
                      <a:pt x="42" y="308"/>
                      <a:pt x="48" y="302"/>
                      <a:pt x="54" y="302"/>
                    </a:cubicBezTo>
                    <a:cubicBezTo>
                      <a:pt x="60" y="302"/>
                      <a:pt x="66" y="308"/>
                      <a:pt x="66" y="314"/>
                    </a:cubicBezTo>
                    <a:cubicBezTo>
                      <a:pt x="66" y="320"/>
                      <a:pt x="60" y="326"/>
                      <a:pt x="54" y="3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29" name="Rectangle 128"/>
            <p:cNvSpPr/>
            <p:nvPr/>
          </p:nvSpPr>
          <p:spPr>
            <a:xfrm>
              <a:off x="1223262" y="636492"/>
              <a:ext cx="4987678" cy="808095"/>
            </a:xfrm>
            <a:prstGeom prst="rect">
              <a:avLst/>
            </a:prstGeom>
            <a:ln w="6350">
              <a:solidFill>
                <a:schemeClr val="accent2"/>
              </a:solidFill>
            </a:ln>
          </p:spPr>
          <p:txBody>
            <a:bodyPr wrap="square" lIns="72000" tIns="194400" rIns="0" bIns="194400">
              <a:spAutoFit/>
            </a:bodyPr>
            <a:lstStyle/>
            <a:p>
              <a:pPr marL="269875" lvl="1" indent="-182563"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lv-LV" sz="900" dirty="0">
                  <a:sym typeface="Arial"/>
                </a:rPr>
                <a:t>Kas ir tā persona, ko vēlamies izprast?</a:t>
              </a:r>
            </a:p>
            <a:p>
              <a:pPr marL="269875" lvl="1" indent="-182563"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lv-LV" sz="900" dirty="0">
                  <a:sym typeface="Arial"/>
                </a:rPr>
                <a:t>Kādā situācijā viņa ir?</a:t>
              </a:r>
            </a:p>
            <a:p>
              <a:pPr marL="269875" lvl="1" indent="-182563"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lv-LV" sz="900" dirty="0">
                  <a:sym typeface="Arial"/>
                </a:rPr>
                <a:t>Kāda ir viņas loma šajā situācijā?</a:t>
              </a:r>
            </a:p>
          </p:txBody>
        </p:sp>
        <p:sp>
          <p:nvSpPr>
            <p:cNvPr id="130" name="Rectangle 129"/>
            <p:cNvSpPr/>
            <p:nvPr/>
          </p:nvSpPr>
          <p:spPr>
            <a:xfrm>
              <a:off x="223487" y="232770"/>
              <a:ext cx="6074075" cy="2643597"/>
            </a:xfrm>
            <a:prstGeom prst="rect">
              <a:avLst/>
            </a:prstGeom>
            <a:noFill/>
            <a:ln>
              <a:solidFill>
                <a:schemeClr val="accent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600"/>
            </a:p>
          </p:txBody>
        </p:sp>
        <p:sp>
          <p:nvSpPr>
            <p:cNvPr id="131" name="Rectangle 130"/>
            <p:cNvSpPr/>
            <p:nvPr/>
          </p:nvSpPr>
          <p:spPr>
            <a:xfrm>
              <a:off x="223486" y="326609"/>
              <a:ext cx="6074075" cy="138499"/>
            </a:xfrm>
            <a:prstGeom prst="rect">
              <a:avLst/>
            </a:prstGeom>
            <a:ln w="6350">
              <a:noFill/>
            </a:ln>
          </p:spPr>
          <p:txBody>
            <a:bodyPr wrap="square" lIns="72000" tIns="0" rIns="72000" bIns="0">
              <a:spAutoFit/>
            </a:bodyPr>
            <a:lstStyle/>
            <a:p>
              <a:pPr algn="ctr">
                <a:defRPr/>
              </a:pPr>
              <a:r>
                <a:rPr lang="pt-BR" sz="900" b="1" dirty="0">
                  <a:sym typeface="Arial"/>
                </a:rPr>
                <a:t>1. Ar KO mēs empatizējam?</a:t>
              </a:r>
            </a:p>
          </p:txBody>
        </p:sp>
        <p:cxnSp>
          <p:nvCxnSpPr>
            <p:cNvPr id="132" name="Straight Connector 131"/>
            <p:cNvCxnSpPr/>
            <p:nvPr/>
          </p:nvCxnSpPr>
          <p:spPr>
            <a:xfrm>
              <a:off x="223716" y="552308"/>
              <a:ext cx="6072906" cy="0"/>
            </a:xfrm>
            <a:prstGeom prst="line">
              <a:avLst/>
            </a:prstGeom>
            <a:ln w="3175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146" name="Group 145"/>
          <p:cNvGrpSpPr/>
          <p:nvPr/>
        </p:nvGrpSpPr>
        <p:grpSpPr>
          <a:xfrm>
            <a:off x="6504038" y="232770"/>
            <a:ext cx="6074076" cy="2643597"/>
            <a:chOff x="6504038" y="232770"/>
            <a:chExt cx="6074076" cy="2643597"/>
          </a:xfrm>
        </p:grpSpPr>
        <p:grpSp>
          <p:nvGrpSpPr>
            <p:cNvPr id="20" name="Group 19"/>
            <p:cNvGrpSpPr/>
            <p:nvPr/>
          </p:nvGrpSpPr>
          <p:grpSpPr>
            <a:xfrm>
              <a:off x="6590871" y="636492"/>
              <a:ext cx="828000" cy="828000"/>
              <a:chOff x="1052040" y="1531938"/>
              <a:chExt cx="478303" cy="478303"/>
            </a:xfrm>
          </p:grpSpPr>
          <p:sp>
            <p:nvSpPr>
              <p:cNvPr id="21" name="Freeform 20"/>
              <p:cNvSpPr>
                <a:spLocks noEditPoints="1"/>
              </p:cNvSpPr>
              <p:nvPr/>
            </p:nvSpPr>
            <p:spPr bwMode="auto">
              <a:xfrm>
                <a:off x="1052040" y="1531938"/>
                <a:ext cx="478303" cy="478303"/>
              </a:xfrm>
              <a:custGeom>
                <a:avLst/>
                <a:gdLst>
                  <a:gd name="T0" fmla="*/ 0 w 78"/>
                  <a:gd name="T1" fmla="*/ 0 h 78"/>
                  <a:gd name="T2" fmla="*/ 0 w 78"/>
                  <a:gd name="T3" fmla="*/ 78 h 78"/>
                  <a:gd name="T4" fmla="*/ 78 w 78"/>
                  <a:gd name="T5" fmla="*/ 78 h 78"/>
                  <a:gd name="T6" fmla="*/ 78 w 78"/>
                  <a:gd name="T7" fmla="*/ 0 h 78"/>
                  <a:gd name="T8" fmla="*/ 0 w 78"/>
                  <a:gd name="T9" fmla="*/ 0 h 78"/>
                  <a:gd name="T10" fmla="*/ 74 w 78"/>
                  <a:gd name="T11" fmla="*/ 74 h 78"/>
                  <a:gd name="T12" fmla="*/ 3 w 78"/>
                  <a:gd name="T13" fmla="*/ 74 h 78"/>
                  <a:gd name="T14" fmla="*/ 3 w 78"/>
                  <a:gd name="T15" fmla="*/ 3 h 78"/>
                  <a:gd name="T16" fmla="*/ 74 w 78"/>
                  <a:gd name="T17" fmla="*/ 3 h 78"/>
                  <a:gd name="T18" fmla="*/ 74 w 78"/>
                  <a:gd name="T19" fmla="*/ 74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8" h="78">
                    <a:moveTo>
                      <a:pt x="0" y="0"/>
                    </a:moveTo>
                    <a:lnTo>
                      <a:pt x="0" y="78"/>
                    </a:lnTo>
                    <a:lnTo>
                      <a:pt x="78" y="78"/>
                    </a:lnTo>
                    <a:lnTo>
                      <a:pt x="78" y="0"/>
                    </a:lnTo>
                    <a:lnTo>
                      <a:pt x="0" y="0"/>
                    </a:lnTo>
                    <a:close/>
                    <a:moveTo>
                      <a:pt x="74" y="74"/>
                    </a:moveTo>
                    <a:lnTo>
                      <a:pt x="3" y="74"/>
                    </a:lnTo>
                    <a:lnTo>
                      <a:pt x="3" y="3"/>
                    </a:lnTo>
                    <a:lnTo>
                      <a:pt x="74" y="3"/>
                    </a:lnTo>
                    <a:lnTo>
                      <a:pt x="74" y="74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2" name="Freeform 21"/>
              <p:cNvSpPr>
                <a:spLocks noEditPoints="1"/>
              </p:cNvSpPr>
              <p:nvPr/>
            </p:nvSpPr>
            <p:spPr bwMode="auto">
              <a:xfrm>
                <a:off x="1119491" y="1636185"/>
                <a:ext cx="79719" cy="79375"/>
              </a:xfrm>
              <a:custGeom>
                <a:avLst/>
                <a:gdLst>
                  <a:gd name="T0" fmla="*/ 45 w 91"/>
                  <a:gd name="T1" fmla="*/ 91 h 91"/>
                  <a:gd name="T2" fmla="*/ 91 w 91"/>
                  <a:gd name="T3" fmla="*/ 45 h 91"/>
                  <a:gd name="T4" fmla="*/ 45 w 91"/>
                  <a:gd name="T5" fmla="*/ 0 h 91"/>
                  <a:gd name="T6" fmla="*/ 0 w 91"/>
                  <a:gd name="T7" fmla="*/ 45 h 91"/>
                  <a:gd name="T8" fmla="*/ 45 w 91"/>
                  <a:gd name="T9" fmla="*/ 91 h 91"/>
                  <a:gd name="T10" fmla="*/ 45 w 91"/>
                  <a:gd name="T11" fmla="*/ 24 h 91"/>
                  <a:gd name="T12" fmla="*/ 66 w 91"/>
                  <a:gd name="T13" fmla="*/ 45 h 91"/>
                  <a:gd name="T14" fmla="*/ 45 w 91"/>
                  <a:gd name="T15" fmla="*/ 66 h 91"/>
                  <a:gd name="T16" fmla="*/ 24 w 91"/>
                  <a:gd name="T17" fmla="*/ 45 h 91"/>
                  <a:gd name="T18" fmla="*/ 45 w 91"/>
                  <a:gd name="T19" fmla="*/ 24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1">
                    <a:moveTo>
                      <a:pt x="45" y="91"/>
                    </a:moveTo>
                    <a:cubicBezTo>
                      <a:pt x="70" y="91"/>
                      <a:pt x="91" y="70"/>
                      <a:pt x="91" y="45"/>
                    </a:cubicBezTo>
                    <a:cubicBezTo>
                      <a:pt x="91" y="20"/>
                      <a:pt x="70" y="0"/>
                      <a:pt x="45" y="0"/>
                    </a:cubicBezTo>
                    <a:cubicBezTo>
                      <a:pt x="20" y="0"/>
                      <a:pt x="0" y="20"/>
                      <a:pt x="0" y="45"/>
                    </a:cubicBezTo>
                    <a:cubicBezTo>
                      <a:pt x="0" y="70"/>
                      <a:pt x="20" y="91"/>
                      <a:pt x="45" y="91"/>
                    </a:cubicBezTo>
                    <a:close/>
                    <a:moveTo>
                      <a:pt x="45" y="24"/>
                    </a:moveTo>
                    <a:cubicBezTo>
                      <a:pt x="57" y="24"/>
                      <a:pt x="66" y="34"/>
                      <a:pt x="66" y="45"/>
                    </a:cubicBezTo>
                    <a:cubicBezTo>
                      <a:pt x="66" y="57"/>
                      <a:pt x="57" y="66"/>
                      <a:pt x="45" y="66"/>
                    </a:cubicBezTo>
                    <a:cubicBezTo>
                      <a:pt x="34" y="66"/>
                      <a:pt x="24" y="57"/>
                      <a:pt x="24" y="45"/>
                    </a:cubicBezTo>
                    <a:cubicBezTo>
                      <a:pt x="24" y="34"/>
                      <a:pt x="34" y="24"/>
                      <a:pt x="45" y="2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3" name="Rectangle 22"/>
              <p:cNvSpPr>
                <a:spLocks noChangeArrowheads="1"/>
              </p:cNvSpPr>
              <p:nvPr/>
            </p:nvSpPr>
            <p:spPr bwMode="auto">
              <a:xfrm>
                <a:off x="1229869" y="1663608"/>
                <a:ext cx="226889" cy="2452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4" name="Freeform 23"/>
              <p:cNvSpPr>
                <a:spLocks noEditPoints="1"/>
              </p:cNvSpPr>
              <p:nvPr/>
            </p:nvSpPr>
            <p:spPr bwMode="auto">
              <a:xfrm>
                <a:off x="1119491" y="1752693"/>
                <a:ext cx="79719" cy="79375"/>
              </a:xfrm>
              <a:custGeom>
                <a:avLst/>
                <a:gdLst>
                  <a:gd name="T0" fmla="*/ 45 w 91"/>
                  <a:gd name="T1" fmla="*/ 91 h 91"/>
                  <a:gd name="T2" fmla="*/ 91 w 91"/>
                  <a:gd name="T3" fmla="*/ 45 h 91"/>
                  <a:gd name="T4" fmla="*/ 45 w 91"/>
                  <a:gd name="T5" fmla="*/ 0 h 91"/>
                  <a:gd name="T6" fmla="*/ 0 w 91"/>
                  <a:gd name="T7" fmla="*/ 45 h 91"/>
                  <a:gd name="T8" fmla="*/ 45 w 91"/>
                  <a:gd name="T9" fmla="*/ 91 h 91"/>
                  <a:gd name="T10" fmla="*/ 45 w 91"/>
                  <a:gd name="T11" fmla="*/ 24 h 91"/>
                  <a:gd name="T12" fmla="*/ 66 w 91"/>
                  <a:gd name="T13" fmla="*/ 45 h 91"/>
                  <a:gd name="T14" fmla="*/ 45 w 91"/>
                  <a:gd name="T15" fmla="*/ 66 h 91"/>
                  <a:gd name="T16" fmla="*/ 24 w 91"/>
                  <a:gd name="T17" fmla="*/ 45 h 91"/>
                  <a:gd name="T18" fmla="*/ 45 w 91"/>
                  <a:gd name="T19" fmla="*/ 24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1">
                    <a:moveTo>
                      <a:pt x="45" y="91"/>
                    </a:moveTo>
                    <a:cubicBezTo>
                      <a:pt x="70" y="91"/>
                      <a:pt x="91" y="70"/>
                      <a:pt x="91" y="45"/>
                    </a:cubicBezTo>
                    <a:cubicBezTo>
                      <a:pt x="91" y="20"/>
                      <a:pt x="70" y="0"/>
                      <a:pt x="45" y="0"/>
                    </a:cubicBezTo>
                    <a:cubicBezTo>
                      <a:pt x="20" y="0"/>
                      <a:pt x="0" y="20"/>
                      <a:pt x="0" y="45"/>
                    </a:cubicBezTo>
                    <a:cubicBezTo>
                      <a:pt x="0" y="70"/>
                      <a:pt x="20" y="91"/>
                      <a:pt x="45" y="91"/>
                    </a:cubicBezTo>
                    <a:close/>
                    <a:moveTo>
                      <a:pt x="45" y="24"/>
                    </a:moveTo>
                    <a:cubicBezTo>
                      <a:pt x="57" y="24"/>
                      <a:pt x="66" y="34"/>
                      <a:pt x="66" y="45"/>
                    </a:cubicBezTo>
                    <a:cubicBezTo>
                      <a:pt x="66" y="57"/>
                      <a:pt x="57" y="66"/>
                      <a:pt x="45" y="66"/>
                    </a:cubicBezTo>
                    <a:cubicBezTo>
                      <a:pt x="34" y="66"/>
                      <a:pt x="24" y="57"/>
                      <a:pt x="24" y="45"/>
                    </a:cubicBezTo>
                    <a:cubicBezTo>
                      <a:pt x="24" y="34"/>
                      <a:pt x="34" y="24"/>
                      <a:pt x="45" y="2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5" name="Rectangle 24"/>
              <p:cNvSpPr>
                <a:spLocks noChangeArrowheads="1"/>
              </p:cNvSpPr>
              <p:nvPr/>
            </p:nvSpPr>
            <p:spPr bwMode="auto">
              <a:xfrm>
                <a:off x="1229869" y="1780116"/>
                <a:ext cx="226889" cy="2452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6" name="Freeform 25"/>
              <p:cNvSpPr>
                <a:spLocks noEditPoints="1"/>
              </p:cNvSpPr>
              <p:nvPr/>
            </p:nvSpPr>
            <p:spPr bwMode="auto">
              <a:xfrm>
                <a:off x="1119491" y="1869205"/>
                <a:ext cx="79719" cy="79719"/>
              </a:xfrm>
              <a:custGeom>
                <a:avLst/>
                <a:gdLst>
                  <a:gd name="T0" fmla="*/ 45 w 91"/>
                  <a:gd name="T1" fmla="*/ 91 h 91"/>
                  <a:gd name="T2" fmla="*/ 91 w 91"/>
                  <a:gd name="T3" fmla="*/ 45 h 91"/>
                  <a:gd name="T4" fmla="*/ 45 w 91"/>
                  <a:gd name="T5" fmla="*/ 0 h 91"/>
                  <a:gd name="T6" fmla="*/ 0 w 91"/>
                  <a:gd name="T7" fmla="*/ 45 h 91"/>
                  <a:gd name="T8" fmla="*/ 45 w 91"/>
                  <a:gd name="T9" fmla="*/ 91 h 91"/>
                  <a:gd name="T10" fmla="*/ 45 w 91"/>
                  <a:gd name="T11" fmla="*/ 24 h 91"/>
                  <a:gd name="T12" fmla="*/ 66 w 91"/>
                  <a:gd name="T13" fmla="*/ 45 h 91"/>
                  <a:gd name="T14" fmla="*/ 45 w 91"/>
                  <a:gd name="T15" fmla="*/ 66 h 91"/>
                  <a:gd name="T16" fmla="*/ 24 w 91"/>
                  <a:gd name="T17" fmla="*/ 45 h 91"/>
                  <a:gd name="T18" fmla="*/ 45 w 91"/>
                  <a:gd name="T19" fmla="*/ 24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91" h="91">
                    <a:moveTo>
                      <a:pt x="45" y="91"/>
                    </a:moveTo>
                    <a:cubicBezTo>
                      <a:pt x="70" y="91"/>
                      <a:pt x="91" y="70"/>
                      <a:pt x="91" y="45"/>
                    </a:cubicBezTo>
                    <a:cubicBezTo>
                      <a:pt x="91" y="20"/>
                      <a:pt x="70" y="0"/>
                      <a:pt x="45" y="0"/>
                    </a:cubicBezTo>
                    <a:cubicBezTo>
                      <a:pt x="20" y="0"/>
                      <a:pt x="0" y="20"/>
                      <a:pt x="0" y="45"/>
                    </a:cubicBezTo>
                    <a:cubicBezTo>
                      <a:pt x="0" y="70"/>
                      <a:pt x="20" y="91"/>
                      <a:pt x="45" y="91"/>
                    </a:cubicBezTo>
                    <a:close/>
                    <a:moveTo>
                      <a:pt x="45" y="24"/>
                    </a:moveTo>
                    <a:cubicBezTo>
                      <a:pt x="57" y="24"/>
                      <a:pt x="66" y="34"/>
                      <a:pt x="66" y="45"/>
                    </a:cubicBezTo>
                    <a:cubicBezTo>
                      <a:pt x="66" y="57"/>
                      <a:pt x="57" y="66"/>
                      <a:pt x="45" y="66"/>
                    </a:cubicBezTo>
                    <a:cubicBezTo>
                      <a:pt x="34" y="66"/>
                      <a:pt x="24" y="57"/>
                      <a:pt x="24" y="45"/>
                    </a:cubicBezTo>
                    <a:cubicBezTo>
                      <a:pt x="24" y="34"/>
                      <a:pt x="34" y="24"/>
                      <a:pt x="45" y="2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27" name="Rectangle 26"/>
              <p:cNvSpPr>
                <a:spLocks noChangeArrowheads="1"/>
              </p:cNvSpPr>
              <p:nvPr/>
            </p:nvSpPr>
            <p:spPr bwMode="auto">
              <a:xfrm>
                <a:off x="1229869" y="1897158"/>
                <a:ext cx="226889" cy="23813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sp>
          <p:nvSpPr>
            <p:cNvPr id="138" name="Rectangle 137"/>
            <p:cNvSpPr/>
            <p:nvPr/>
          </p:nvSpPr>
          <p:spPr>
            <a:xfrm>
              <a:off x="7503814" y="636492"/>
              <a:ext cx="4987678" cy="808459"/>
            </a:xfrm>
            <a:prstGeom prst="rect">
              <a:avLst/>
            </a:prstGeom>
            <a:ln w="6350">
              <a:solidFill>
                <a:schemeClr val="accent1"/>
              </a:solidFill>
            </a:ln>
          </p:spPr>
          <p:txBody>
            <a:bodyPr wrap="square" lIns="72000" tIns="126000" rIns="0" bIns="126000">
              <a:spAutoFit/>
            </a:bodyPr>
            <a:lstStyle/>
            <a:p>
              <a:pPr marL="269875" lvl="1" indent="-182563"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lv-LV" sz="900" dirty="0">
                  <a:sym typeface="Arial"/>
                </a:rPr>
                <a:t>Ko viņi vēlas izdarīt citādāk?</a:t>
              </a:r>
            </a:p>
            <a:p>
              <a:pPr marL="269875" lvl="1" indent="-182563"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lv-LV" sz="900" dirty="0">
                  <a:sym typeface="Arial"/>
                </a:rPr>
                <a:t>Kādu darbu viņiem ir nepieciešams paveikt?</a:t>
              </a:r>
            </a:p>
            <a:p>
              <a:pPr marL="269875" lvl="1" indent="-182563"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lv-LV" sz="900" dirty="0">
                  <a:sym typeface="Arial"/>
                </a:rPr>
                <a:t>Kādus lēmumus viņiem ir nepieciešams pieņemt?</a:t>
              </a:r>
            </a:p>
            <a:p>
              <a:pPr marL="269875" lvl="1" indent="-182563">
                <a:buClr>
                  <a:schemeClr val="tx1"/>
                </a:buClr>
                <a:buFont typeface="Arial" panose="020B0604020202020204" pitchFamily="34" charset="0"/>
                <a:buChar char="•"/>
                <a:defRPr/>
              </a:pPr>
              <a:r>
                <a:rPr lang="lv-LV" sz="900" dirty="0">
                  <a:sym typeface="Arial"/>
                </a:rPr>
                <a:t>Kā viņi zinās, ka ir veiksmīgi to paveikuši?situācijā?</a:t>
              </a:r>
            </a:p>
          </p:txBody>
        </p:sp>
        <p:sp>
          <p:nvSpPr>
            <p:cNvPr id="139" name="Rectangle 138"/>
            <p:cNvSpPr/>
            <p:nvPr/>
          </p:nvSpPr>
          <p:spPr>
            <a:xfrm>
              <a:off x="6504039" y="232770"/>
              <a:ext cx="6074075" cy="2643597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600"/>
            </a:p>
          </p:txBody>
        </p:sp>
        <p:sp>
          <p:nvSpPr>
            <p:cNvPr id="140" name="Rectangle 139"/>
            <p:cNvSpPr/>
            <p:nvPr/>
          </p:nvSpPr>
          <p:spPr>
            <a:xfrm>
              <a:off x="6504038" y="326609"/>
              <a:ext cx="6074075" cy="138499"/>
            </a:xfrm>
            <a:prstGeom prst="rect">
              <a:avLst/>
            </a:prstGeom>
            <a:ln w="6350">
              <a:noFill/>
            </a:ln>
          </p:spPr>
          <p:txBody>
            <a:bodyPr wrap="square" lIns="72000" tIns="0" rIns="72000" bIns="0">
              <a:spAutoFit/>
            </a:bodyPr>
            <a:lstStyle/>
            <a:p>
              <a:pPr algn="ctr">
                <a:defRPr/>
              </a:pPr>
              <a:r>
                <a:rPr lang="lv-LV" sz="900" b="1" dirty="0">
                  <a:sym typeface="Arial"/>
                </a:rPr>
                <a:t>2. Ko viņiem ir nepieciešams IZDARĪT?</a:t>
              </a:r>
            </a:p>
          </p:txBody>
        </p:sp>
        <p:cxnSp>
          <p:nvCxnSpPr>
            <p:cNvPr id="141" name="Straight Connector 140"/>
            <p:cNvCxnSpPr/>
            <p:nvPr/>
          </p:nvCxnSpPr>
          <p:spPr>
            <a:xfrm>
              <a:off x="6504268" y="552308"/>
              <a:ext cx="6072906" cy="0"/>
            </a:xfrm>
            <a:prstGeom prst="line">
              <a:avLst/>
            </a:prstGeom>
            <a:ln w="3175" cap="sq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sp>
        <p:nvSpPr>
          <p:cNvPr id="81" name="Rectangle 80"/>
          <p:cNvSpPr/>
          <p:nvPr/>
        </p:nvSpPr>
        <p:spPr>
          <a:xfrm>
            <a:off x="4973824" y="2447055"/>
            <a:ext cx="2853651" cy="429312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75000"/>
              </a:schemeClr>
            </a:solidFill>
          </a:ln>
        </p:spPr>
        <p:txBody>
          <a:bodyPr wrap="square" lIns="36000" tIns="144000" rIns="0" bIns="144000">
            <a:spAutoFit/>
          </a:bodyPr>
          <a:lstStyle/>
          <a:p>
            <a:pPr algn="ctr" defTabSz="665665">
              <a:buClr>
                <a:srgbClr val="000000"/>
              </a:buClr>
            </a:pPr>
            <a:r>
              <a:rPr lang="lv-LV" sz="900" kern="0" dirty="0">
                <a:solidFill>
                  <a:prstClr val="black"/>
                </a:solidFill>
                <a:cs typeface="Arial"/>
                <a:sym typeface="Arial"/>
              </a:rPr>
              <a:t>Mērķis, vēlmes, vajadzības, centieni</a:t>
            </a:r>
          </a:p>
        </p:txBody>
      </p:sp>
    </p:spTree>
    <p:extLst>
      <p:ext uri="{BB962C8B-B14F-4D97-AF65-F5344CB8AC3E}">
        <p14:creationId xmlns:p14="http://schemas.microsoft.com/office/powerpoint/2010/main" val="320839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51586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7" name="think-cell Slide" r:id="rId4" imgW="455" imgH="454" progId="TCLayout.ActiveDocument.1">
                  <p:embed/>
                </p:oleObj>
              </mc:Choice>
              <mc:Fallback>
                <p:oleObj name="think-cell Slide" r:id="rId4" imgW="455" imgH="45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oup 187"/>
          <p:cNvGrpSpPr>
            <a:grpSpLocks noChangeAspect="1"/>
          </p:cNvGrpSpPr>
          <p:nvPr/>
        </p:nvGrpSpPr>
        <p:grpSpPr bwMode="auto">
          <a:xfrm>
            <a:off x="442911" y="484799"/>
            <a:ext cx="1639223" cy="1638974"/>
            <a:chOff x="986" y="0"/>
            <a:chExt cx="6696" cy="6695"/>
          </a:xfrm>
          <a:solidFill>
            <a:schemeClr val="accent5"/>
          </a:solidFill>
        </p:grpSpPr>
        <p:sp>
          <p:nvSpPr>
            <p:cNvPr id="4" name="Freeform 188"/>
            <p:cNvSpPr>
              <a:spLocks noEditPoints="1"/>
            </p:cNvSpPr>
            <p:nvPr/>
          </p:nvSpPr>
          <p:spPr bwMode="auto">
            <a:xfrm>
              <a:off x="986" y="0"/>
              <a:ext cx="6696" cy="6695"/>
            </a:xfrm>
            <a:custGeom>
              <a:avLst/>
              <a:gdLst>
                <a:gd name="T0" fmla="*/ 1044 w 6696"/>
                <a:gd name="T1" fmla="*/ 6695 h 6695"/>
                <a:gd name="T2" fmla="*/ 1254 w 6696"/>
                <a:gd name="T3" fmla="*/ 5147 h 6695"/>
                <a:gd name="T4" fmla="*/ 1320 w 6696"/>
                <a:gd name="T5" fmla="*/ 5017 h 6695"/>
                <a:gd name="T6" fmla="*/ 1406 w 6696"/>
                <a:gd name="T7" fmla="*/ 4901 h 6695"/>
                <a:gd name="T8" fmla="*/ 1510 w 6696"/>
                <a:gd name="T9" fmla="*/ 4801 h 6695"/>
                <a:gd name="T10" fmla="*/ 1630 w 6696"/>
                <a:gd name="T11" fmla="*/ 4721 h 6695"/>
                <a:gd name="T12" fmla="*/ 1767 w 6696"/>
                <a:gd name="T13" fmla="*/ 4661 h 6695"/>
                <a:gd name="T14" fmla="*/ 2777 w 6696"/>
                <a:gd name="T15" fmla="*/ 4319 h 6695"/>
                <a:gd name="T16" fmla="*/ 2801 w 6696"/>
                <a:gd name="T17" fmla="*/ 4329 h 6695"/>
                <a:gd name="T18" fmla="*/ 2903 w 6696"/>
                <a:gd name="T19" fmla="*/ 4433 h 6695"/>
                <a:gd name="T20" fmla="*/ 2979 w 6696"/>
                <a:gd name="T21" fmla="*/ 4495 h 6695"/>
                <a:gd name="T22" fmla="*/ 3063 w 6696"/>
                <a:gd name="T23" fmla="*/ 4543 h 6695"/>
                <a:gd name="T24" fmla="*/ 3153 w 6696"/>
                <a:gd name="T25" fmla="*/ 4579 h 6695"/>
                <a:gd name="T26" fmla="*/ 3249 w 6696"/>
                <a:gd name="T27" fmla="*/ 4601 h 6695"/>
                <a:gd name="T28" fmla="*/ 3347 w 6696"/>
                <a:gd name="T29" fmla="*/ 4607 h 6695"/>
                <a:gd name="T30" fmla="*/ 3413 w 6696"/>
                <a:gd name="T31" fmla="*/ 4605 h 6695"/>
                <a:gd name="T32" fmla="*/ 3509 w 6696"/>
                <a:gd name="T33" fmla="*/ 4587 h 6695"/>
                <a:gd name="T34" fmla="*/ 3601 w 6696"/>
                <a:gd name="T35" fmla="*/ 4557 h 6695"/>
                <a:gd name="T36" fmla="*/ 3687 w 6696"/>
                <a:gd name="T37" fmla="*/ 4513 h 6695"/>
                <a:gd name="T38" fmla="*/ 3767 w 6696"/>
                <a:gd name="T39" fmla="*/ 4455 h 6695"/>
                <a:gd name="T40" fmla="*/ 3893 w 6696"/>
                <a:gd name="T41" fmla="*/ 4329 h 6695"/>
                <a:gd name="T42" fmla="*/ 3909 w 6696"/>
                <a:gd name="T43" fmla="*/ 4321 h 6695"/>
                <a:gd name="T44" fmla="*/ 4929 w 6696"/>
                <a:gd name="T45" fmla="*/ 4661 h 6695"/>
                <a:gd name="T46" fmla="*/ 5019 w 6696"/>
                <a:gd name="T47" fmla="*/ 4699 h 6695"/>
                <a:gd name="T48" fmla="*/ 5146 w 6696"/>
                <a:gd name="T49" fmla="*/ 4773 h 6695"/>
                <a:gd name="T50" fmla="*/ 5256 w 6696"/>
                <a:gd name="T51" fmla="*/ 4865 h 6695"/>
                <a:gd name="T52" fmla="*/ 5350 w 6696"/>
                <a:gd name="T53" fmla="*/ 4977 h 6695"/>
                <a:gd name="T54" fmla="*/ 5422 w 6696"/>
                <a:gd name="T55" fmla="*/ 5103 h 6695"/>
                <a:gd name="T56" fmla="*/ 5650 w 6696"/>
                <a:gd name="T57" fmla="*/ 6695 h 6695"/>
                <a:gd name="T58" fmla="*/ 0 w 6696"/>
                <a:gd name="T59" fmla="*/ 0 h 6695"/>
                <a:gd name="T60" fmla="*/ 5740 w 6696"/>
                <a:gd name="T61" fmla="*/ 5145 h 6695"/>
                <a:gd name="T62" fmla="*/ 5712 w 6696"/>
                <a:gd name="T63" fmla="*/ 5057 h 6695"/>
                <a:gd name="T64" fmla="*/ 5626 w 6696"/>
                <a:gd name="T65" fmla="*/ 4879 h 6695"/>
                <a:gd name="T66" fmla="*/ 5510 w 6696"/>
                <a:gd name="T67" fmla="*/ 4719 h 6695"/>
                <a:gd name="T68" fmla="*/ 5368 w 6696"/>
                <a:gd name="T69" fmla="*/ 4583 h 6695"/>
                <a:gd name="T70" fmla="*/ 5204 w 6696"/>
                <a:gd name="T71" fmla="*/ 4471 h 6695"/>
                <a:gd name="T72" fmla="*/ 5021 w 6696"/>
                <a:gd name="T73" fmla="*/ 4391 h 6695"/>
                <a:gd name="T74" fmla="*/ 3997 w 6696"/>
                <a:gd name="T75" fmla="*/ 4045 h 6695"/>
                <a:gd name="T76" fmla="*/ 3931 w 6696"/>
                <a:gd name="T77" fmla="*/ 4035 h 6695"/>
                <a:gd name="T78" fmla="*/ 3865 w 6696"/>
                <a:gd name="T79" fmla="*/ 4039 h 6695"/>
                <a:gd name="T80" fmla="*/ 3801 w 6696"/>
                <a:gd name="T81" fmla="*/ 4057 h 6695"/>
                <a:gd name="T82" fmla="*/ 3741 w 6696"/>
                <a:gd name="T83" fmla="*/ 4087 h 6695"/>
                <a:gd name="T84" fmla="*/ 3689 w 6696"/>
                <a:gd name="T85" fmla="*/ 4131 h 6695"/>
                <a:gd name="T86" fmla="*/ 3583 w 6696"/>
                <a:gd name="T87" fmla="*/ 4237 h 6695"/>
                <a:gd name="T88" fmla="*/ 3491 w 6696"/>
                <a:gd name="T89" fmla="*/ 4293 h 6695"/>
                <a:gd name="T90" fmla="*/ 3385 w 6696"/>
                <a:gd name="T91" fmla="*/ 4321 h 6695"/>
                <a:gd name="T92" fmla="*/ 3311 w 6696"/>
                <a:gd name="T93" fmla="*/ 4321 h 6695"/>
                <a:gd name="T94" fmla="*/ 3205 w 6696"/>
                <a:gd name="T95" fmla="*/ 4293 h 6695"/>
                <a:gd name="T96" fmla="*/ 3111 w 6696"/>
                <a:gd name="T97" fmla="*/ 4237 h 6695"/>
                <a:gd name="T98" fmla="*/ 3005 w 6696"/>
                <a:gd name="T99" fmla="*/ 4131 h 6695"/>
                <a:gd name="T100" fmla="*/ 2953 w 6696"/>
                <a:gd name="T101" fmla="*/ 4087 h 6695"/>
                <a:gd name="T102" fmla="*/ 2895 w 6696"/>
                <a:gd name="T103" fmla="*/ 4057 h 6695"/>
                <a:gd name="T104" fmla="*/ 2831 w 6696"/>
                <a:gd name="T105" fmla="*/ 4039 h 6695"/>
                <a:gd name="T106" fmla="*/ 2763 w 6696"/>
                <a:gd name="T107" fmla="*/ 4035 h 6695"/>
                <a:gd name="T108" fmla="*/ 2697 w 6696"/>
                <a:gd name="T109" fmla="*/ 4045 h 6695"/>
                <a:gd name="T110" fmla="*/ 1675 w 6696"/>
                <a:gd name="T111" fmla="*/ 4391 h 6695"/>
                <a:gd name="T112" fmla="*/ 1490 w 6696"/>
                <a:gd name="T113" fmla="*/ 4471 h 6695"/>
                <a:gd name="T114" fmla="*/ 1328 w 6696"/>
                <a:gd name="T115" fmla="*/ 4583 h 6695"/>
                <a:gd name="T116" fmla="*/ 1186 w 6696"/>
                <a:gd name="T117" fmla="*/ 4719 h 6695"/>
                <a:gd name="T118" fmla="*/ 1070 w 6696"/>
                <a:gd name="T119" fmla="*/ 4879 h 6695"/>
                <a:gd name="T120" fmla="*/ 982 w 6696"/>
                <a:gd name="T121" fmla="*/ 5057 h 6695"/>
                <a:gd name="T122" fmla="*/ 284 w 6696"/>
                <a:gd name="T123" fmla="*/ 6411 h 6695"/>
                <a:gd name="T124" fmla="*/ 6410 w 6696"/>
                <a:gd name="T125" fmla="*/ 6411 h 6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96" h="6695">
                  <a:moveTo>
                    <a:pt x="0" y="0"/>
                  </a:moveTo>
                  <a:lnTo>
                    <a:pt x="0" y="6695"/>
                  </a:lnTo>
                  <a:lnTo>
                    <a:pt x="1044" y="6695"/>
                  </a:lnTo>
                  <a:lnTo>
                    <a:pt x="1236" y="5193"/>
                  </a:lnTo>
                  <a:lnTo>
                    <a:pt x="1236" y="5193"/>
                  </a:lnTo>
                  <a:lnTo>
                    <a:pt x="1254" y="5147"/>
                  </a:lnTo>
                  <a:lnTo>
                    <a:pt x="1272" y="5103"/>
                  </a:lnTo>
                  <a:lnTo>
                    <a:pt x="1294" y="5059"/>
                  </a:lnTo>
                  <a:lnTo>
                    <a:pt x="1320" y="5017"/>
                  </a:lnTo>
                  <a:lnTo>
                    <a:pt x="1346" y="4977"/>
                  </a:lnTo>
                  <a:lnTo>
                    <a:pt x="1374" y="4939"/>
                  </a:lnTo>
                  <a:lnTo>
                    <a:pt x="1406" y="4901"/>
                  </a:lnTo>
                  <a:lnTo>
                    <a:pt x="1438" y="4865"/>
                  </a:lnTo>
                  <a:lnTo>
                    <a:pt x="1474" y="4833"/>
                  </a:lnTo>
                  <a:lnTo>
                    <a:pt x="1510" y="4801"/>
                  </a:lnTo>
                  <a:lnTo>
                    <a:pt x="1548" y="4773"/>
                  </a:lnTo>
                  <a:lnTo>
                    <a:pt x="1588" y="4745"/>
                  </a:lnTo>
                  <a:lnTo>
                    <a:pt x="1630" y="4721"/>
                  </a:lnTo>
                  <a:lnTo>
                    <a:pt x="1675" y="4699"/>
                  </a:lnTo>
                  <a:lnTo>
                    <a:pt x="1719" y="4679"/>
                  </a:lnTo>
                  <a:lnTo>
                    <a:pt x="1767" y="4661"/>
                  </a:lnTo>
                  <a:lnTo>
                    <a:pt x="2767" y="4321"/>
                  </a:lnTo>
                  <a:lnTo>
                    <a:pt x="2767" y="4321"/>
                  </a:lnTo>
                  <a:lnTo>
                    <a:pt x="2777" y="4319"/>
                  </a:lnTo>
                  <a:lnTo>
                    <a:pt x="2785" y="4321"/>
                  </a:lnTo>
                  <a:lnTo>
                    <a:pt x="2793" y="4323"/>
                  </a:lnTo>
                  <a:lnTo>
                    <a:pt x="2801" y="4329"/>
                  </a:lnTo>
                  <a:lnTo>
                    <a:pt x="2879" y="4409"/>
                  </a:lnTo>
                  <a:lnTo>
                    <a:pt x="2879" y="4409"/>
                  </a:lnTo>
                  <a:lnTo>
                    <a:pt x="2903" y="4433"/>
                  </a:lnTo>
                  <a:lnTo>
                    <a:pt x="2927" y="4455"/>
                  </a:lnTo>
                  <a:lnTo>
                    <a:pt x="2953" y="4475"/>
                  </a:lnTo>
                  <a:lnTo>
                    <a:pt x="2979" y="4495"/>
                  </a:lnTo>
                  <a:lnTo>
                    <a:pt x="3007" y="4513"/>
                  </a:lnTo>
                  <a:lnTo>
                    <a:pt x="3035" y="4529"/>
                  </a:lnTo>
                  <a:lnTo>
                    <a:pt x="3063" y="4543"/>
                  </a:lnTo>
                  <a:lnTo>
                    <a:pt x="3093" y="4557"/>
                  </a:lnTo>
                  <a:lnTo>
                    <a:pt x="3123" y="4569"/>
                  </a:lnTo>
                  <a:lnTo>
                    <a:pt x="3153" y="4579"/>
                  </a:lnTo>
                  <a:lnTo>
                    <a:pt x="3185" y="4587"/>
                  </a:lnTo>
                  <a:lnTo>
                    <a:pt x="3217" y="4595"/>
                  </a:lnTo>
                  <a:lnTo>
                    <a:pt x="3249" y="4601"/>
                  </a:lnTo>
                  <a:lnTo>
                    <a:pt x="3281" y="4605"/>
                  </a:lnTo>
                  <a:lnTo>
                    <a:pt x="3315" y="4607"/>
                  </a:lnTo>
                  <a:lnTo>
                    <a:pt x="3347" y="4607"/>
                  </a:lnTo>
                  <a:lnTo>
                    <a:pt x="3347" y="4607"/>
                  </a:lnTo>
                  <a:lnTo>
                    <a:pt x="3381" y="4607"/>
                  </a:lnTo>
                  <a:lnTo>
                    <a:pt x="3413" y="4605"/>
                  </a:lnTo>
                  <a:lnTo>
                    <a:pt x="3447" y="4601"/>
                  </a:lnTo>
                  <a:lnTo>
                    <a:pt x="3479" y="4595"/>
                  </a:lnTo>
                  <a:lnTo>
                    <a:pt x="3509" y="4587"/>
                  </a:lnTo>
                  <a:lnTo>
                    <a:pt x="3541" y="4579"/>
                  </a:lnTo>
                  <a:lnTo>
                    <a:pt x="3571" y="4569"/>
                  </a:lnTo>
                  <a:lnTo>
                    <a:pt x="3601" y="4557"/>
                  </a:lnTo>
                  <a:lnTo>
                    <a:pt x="3631" y="4543"/>
                  </a:lnTo>
                  <a:lnTo>
                    <a:pt x="3659" y="4529"/>
                  </a:lnTo>
                  <a:lnTo>
                    <a:pt x="3687" y="4513"/>
                  </a:lnTo>
                  <a:lnTo>
                    <a:pt x="3715" y="4495"/>
                  </a:lnTo>
                  <a:lnTo>
                    <a:pt x="3741" y="4475"/>
                  </a:lnTo>
                  <a:lnTo>
                    <a:pt x="3767" y="4455"/>
                  </a:lnTo>
                  <a:lnTo>
                    <a:pt x="3791" y="4433"/>
                  </a:lnTo>
                  <a:lnTo>
                    <a:pt x="3815" y="4409"/>
                  </a:lnTo>
                  <a:lnTo>
                    <a:pt x="3893" y="4329"/>
                  </a:lnTo>
                  <a:lnTo>
                    <a:pt x="3893" y="4329"/>
                  </a:lnTo>
                  <a:lnTo>
                    <a:pt x="3901" y="4323"/>
                  </a:lnTo>
                  <a:lnTo>
                    <a:pt x="3909" y="4321"/>
                  </a:lnTo>
                  <a:lnTo>
                    <a:pt x="3919" y="4319"/>
                  </a:lnTo>
                  <a:lnTo>
                    <a:pt x="3927" y="4321"/>
                  </a:lnTo>
                  <a:lnTo>
                    <a:pt x="4929" y="4661"/>
                  </a:lnTo>
                  <a:lnTo>
                    <a:pt x="4929" y="4661"/>
                  </a:lnTo>
                  <a:lnTo>
                    <a:pt x="4975" y="4679"/>
                  </a:lnTo>
                  <a:lnTo>
                    <a:pt x="5019" y="4699"/>
                  </a:lnTo>
                  <a:lnTo>
                    <a:pt x="5064" y="4721"/>
                  </a:lnTo>
                  <a:lnTo>
                    <a:pt x="5106" y="4745"/>
                  </a:lnTo>
                  <a:lnTo>
                    <a:pt x="5146" y="4773"/>
                  </a:lnTo>
                  <a:lnTo>
                    <a:pt x="5184" y="4801"/>
                  </a:lnTo>
                  <a:lnTo>
                    <a:pt x="5222" y="4833"/>
                  </a:lnTo>
                  <a:lnTo>
                    <a:pt x="5256" y="4865"/>
                  </a:lnTo>
                  <a:lnTo>
                    <a:pt x="5290" y="4901"/>
                  </a:lnTo>
                  <a:lnTo>
                    <a:pt x="5320" y="4939"/>
                  </a:lnTo>
                  <a:lnTo>
                    <a:pt x="5350" y="4977"/>
                  </a:lnTo>
                  <a:lnTo>
                    <a:pt x="5376" y="5017"/>
                  </a:lnTo>
                  <a:lnTo>
                    <a:pt x="5400" y="5059"/>
                  </a:lnTo>
                  <a:lnTo>
                    <a:pt x="5422" y="5103"/>
                  </a:lnTo>
                  <a:lnTo>
                    <a:pt x="5442" y="5147"/>
                  </a:lnTo>
                  <a:lnTo>
                    <a:pt x="5458" y="5193"/>
                  </a:lnTo>
                  <a:lnTo>
                    <a:pt x="5650" y="6695"/>
                  </a:lnTo>
                  <a:lnTo>
                    <a:pt x="6696" y="6695"/>
                  </a:lnTo>
                  <a:lnTo>
                    <a:pt x="6696" y="0"/>
                  </a:lnTo>
                  <a:lnTo>
                    <a:pt x="0" y="0"/>
                  </a:lnTo>
                  <a:close/>
                  <a:moveTo>
                    <a:pt x="6410" y="6411"/>
                  </a:moveTo>
                  <a:lnTo>
                    <a:pt x="5902" y="6411"/>
                  </a:lnTo>
                  <a:lnTo>
                    <a:pt x="5740" y="5145"/>
                  </a:lnTo>
                  <a:lnTo>
                    <a:pt x="5734" y="5121"/>
                  </a:lnTo>
                  <a:lnTo>
                    <a:pt x="5734" y="5121"/>
                  </a:lnTo>
                  <a:lnTo>
                    <a:pt x="5712" y="5057"/>
                  </a:lnTo>
                  <a:lnTo>
                    <a:pt x="5686" y="4995"/>
                  </a:lnTo>
                  <a:lnTo>
                    <a:pt x="5658" y="4935"/>
                  </a:lnTo>
                  <a:lnTo>
                    <a:pt x="5626" y="4879"/>
                  </a:lnTo>
                  <a:lnTo>
                    <a:pt x="5590" y="4823"/>
                  </a:lnTo>
                  <a:lnTo>
                    <a:pt x="5552" y="4769"/>
                  </a:lnTo>
                  <a:lnTo>
                    <a:pt x="5510" y="4719"/>
                  </a:lnTo>
                  <a:lnTo>
                    <a:pt x="5464" y="4671"/>
                  </a:lnTo>
                  <a:lnTo>
                    <a:pt x="5418" y="4625"/>
                  </a:lnTo>
                  <a:lnTo>
                    <a:pt x="5368" y="4583"/>
                  </a:lnTo>
                  <a:lnTo>
                    <a:pt x="5316" y="4543"/>
                  </a:lnTo>
                  <a:lnTo>
                    <a:pt x="5260" y="4505"/>
                  </a:lnTo>
                  <a:lnTo>
                    <a:pt x="5204" y="4471"/>
                  </a:lnTo>
                  <a:lnTo>
                    <a:pt x="5146" y="4441"/>
                  </a:lnTo>
                  <a:lnTo>
                    <a:pt x="5084" y="4415"/>
                  </a:lnTo>
                  <a:lnTo>
                    <a:pt x="5021" y="4391"/>
                  </a:lnTo>
                  <a:lnTo>
                    <a:pt x="4019" y="4051"/>
                  </a:lnTo>
                  <a:lnTo>
                    <a:pt x="4019" y="4051"/>
                  </a:lnTo>
                  <a:lnTo>
                    <a:pt x="3997" y="4045"/>
                  </a:lnTo>
                  <a:lnTo>
                    <a:pt x="3975" y="4039"/>
                  </a:lnTo>
                  <a:lnTo>
                    <a:pt x="3953" y="4037"/>
                  </a:lnTo>
                  <a:lnTo>
                    <a:pt x="3931" y="4035"/>
                  </a:lnTo>
                  <a:lnTo>
                    <a:pt x="3909" y="4035"/>
                  </a:lnTo>
                  <a:lnTo>
                    <a:pt x="3887" y="4035"/>
                  </a:lnTo>
                  <a:lnTo>
                    <a:pt x="3865" y="4039"/>
                  </a:lnTo>
                  <a:lnTo>
                    <a:pt x="3843" y="4043"/>
                  </a:lnTo>
                  <a:lnTo>
                    <a:pt x="3821" y="4049"/>
                  </a:lnTo>
                  <a:lnTo>
                    <a:pt x="3801" y="4057"/>
                  </a:lnTo>
                  <a:lnTo>
                    <a:pt x="3781" y="4065"/>
                  </a:lnTo>
                  <a:lnTo>
                    <a:pt x="3761" y="4075"/>
                  </a:lnTo>
                  <a:lnTo>
                    <a:pt x="3741" y="4087"/>
                  </a:lnTo>
                  <a:lnTo>
                    <a:pt x="3723" y="4101"/>
                  </a:lnTo>
                  <a:lnTo>
                    <a:pt x="3705" y="4115"/>
                  </a:lnTo>
                  <a:lnTo>
                    <a:pt x="3689" y="4131"/>
                  </a:lnTo>
                  <a:lnTo>
                    <a:pt x="3611" y="4211"/>
                  </a:lnTo>
                  <a:lnTo>
                    <a:pt x="3611" y="4211"/>
                  </a:lnTo>
                  <a:lnTo>
                    <a:pt x="3583" y="4237"/>
                  </a:lnTo>
                  <a:lnTo>
                    <a:pt x="3555" y="4259"/>
                  </a:lnTo>
                  <a:lnTo>
                    <a:pt x="3523" y="4277"/>
                  </a:lnTo>
                  <a:lnTo>
                    <a:pt x="3491" y="4293"/>
                  </a:lnTo>
                  <a:lnTo>
                    <a:pt x="3457" y="4305"/>
                  </a:lnTo>
                  <a:lnTo>
                    <a:pt x="3421" y="4315"/>
                  </a:lnTo>
                  <a:lnTo>
                    <a:pt x="3385" y="4321"/>
                  </a:lnTo>
                  <a:lnTo>
                    <a:pt x="3347" y="4323"/>
                  </a:lnTo>
                  <a:lnTo>
                    <a:pt x="3347" y="4323"/>
                  </a:lnTo>
                  <a:lnTo>
                    <a:pt x="3311" y="4321"/>
                  </a:lnTo>
                  <a:lnTo>
                    <a:pt x="3273" y="4315"/>
                  </a:lnTo>
                  <a:lnTo>
                    <a:pt x="3239" y="4305"/>
                  </a:lnTo>
                  <a:lnTo>
                    <a:pt x="3205" y="4293"/>
                  </a:lnTo>
                  <a:lnTo>
                    <a:pt x="3171" y="4277"/>
                  </a:lnTo>
                  <a:lnTo>
                    <a:pt x="3141" y="4259"/>
                  </a:lnTo>
                  <a:lnTo>
                    <a:pt x="3111" y="4237"/>
                  </a:lnTo>
                  <a:lnTo>
                    <a:pt x="3083" y="4211"/>
                  </a:lnTo>
                  <a:lnTo>
                    <a:pt x="3005" y="4131"/>
                  </a:lnTo>
                  <a:lnTo>
                    <a:pt x="3005" y="4131"/>
                  </a:lnTo>
                  <a:lnTo>
                    <a:pt x="2989" y="4115"/>
                  </a:lnTo>
                  <a:lnTo>
                    <a:pt x="2971" y="4101"/>
                  </a:lnTo>
                  <a:lnTo>
                    <a:pt x="2953" y="4087"/>
                  </a:lnTo>
                  <a:lnTo>
                    <a:pt x="2935" y="4075"/>
                  </a:lnTo>
                  <a:lnTo>
                    <a:pt x="2915" y="4065"/>
                  </a:lnTo>
                  <a:lnTo>
                    <a:pt x="2895" y="4057"/>
                  </a:lnTo>
                  <a:lnTo>
                    <a:pt x="2873" y="4049"/>
                  </a:lnTo>
                  <a:lnTo>
                    <a:pt x="2853" y="4043"/>
                  </a:lnTo>
                  <a:lnTo>
                    <a:pt x="2831" y="4039"/>
                  </a:lnTo>
                  <a:lnTo>
                    <a:pt x="2809" y="4035"/>
                  </a:lnTo>
                  <a:lnTo>
                    <a:pt x="2787" y="4035"/>
                  </a:lnTo>
                  <a:lnTo>
                    <a:pt x="2763" y="4035"/>
                  </a:lnTo>
                  <a:lnTo>
                    <a:pt x="2741" y="4037"/>
                  </a:lnTo>
                  <a:lnTo>
                    <a:pt x="2719" y="4039"/>
                  </a:lnTo>
                  <a:lnTo>
                    <a:pt x="2697" y="4045"/>
                  </a:lnTo>
                  <a:lnTo>
                    <a:pt x="2675" y="4051"/>
                  </a:lnTo>
                  <a:lnTo>
                    <a:pt x="1675" y="4391"/>
                  </a:lnTo>
                  <a:lnTo>
                    <a:pt x="1675" y="4391"/>
                  </a:lnTo>
                  <a:lnTo>
                    <a:pt x="1610" y="4415"/>
                  </a:lnTo>
                  <a:lnTo>
                    <a:pt x="1550" y="4441"/>
                  </a:lnTo>
                  <a:lnTo>
                    <a:pt x="1490" y="4471"/>
                  </a:lnTo>
                  <a:lnTo>
                    <a:pt x="1434" y="4505"/>
                  </a:lnTo>
                  <a:lnTo>
                    <a:pt x="1380" y="4543"/>
                  </a:lnTo>
                  <a:lnTo>
                    <a:pt x="1328" y="4583"/>
                  </a:lnTo>
                  <a:lnTo>
                    <a:pt x="1278" y="4625"/>
                  </a:lnTo>
                  <a:lnTo>
                    <a:pt x="1230" y="4671"/>
                  </a:lnTo>
                  <a:lnTo>
                    <a:pt x="1186" y="4719"/>
                  </a:lnTo>
                  <a:lnTo>
                    <a:pt x="1144" y="4769"/>
                  </a:lnTo>
                  <a:lnTo>
                    <a:pt x="1106" y="4823"/>
                  </a:lnTo>
                  <a:lnTo>
                    <a:pt x="1070" y="4879"/>
                  </a:lnTo>
                  <a:lnTo>
                    <a:pt x="1038" y="4935"/>
                  </a:lnTo>
                  <a:lnTo>
                    <a:pt x="1008" y="4995"/>
                  </a:lnTo>
                  <a:lnTo>
                    <a:pt x="982" y="5057"/>
                  </a:lnTo>
                  <a:lnTo>
                    <a:pt x="960" y="5121"/>
                  </a:lnTo>
                  <a:lnTo>
                    <a:pt x="794" y="6411"/>
                  </a:lnTo>
                  <a:lnTo>
                    <a:pt x="284" y="6411"/>
                  </a:lnTo>
                  <a:lnTo>
                    <a:pt x="284" y="286"/>
                  </a:lnTo>
                  <a:lnTo>
                    <a:pt x="6410" y="286"/>
                  </a:lnTo>
                  <a:lnTo>
                    <a:pt x="6410" y="641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  <p:sp>
          <p:nvSpPr>
            <p:cNvPr id="5" name="Freeform 189"/>
            <p:cNvSpPr>
              <a:spLocks noEditPoints="1"/>
            </p:cNvSpPr>
            <p:nvPr/>
          </p:nvSpPr>
          <p:spPr bwMode="auto">
            <a:xfrm>
              <a:off x="3429" y="1416"/>
              <a:ext cx="1810" cy="2483"/>
            </a:xfrm>
            <a:custGeom>
              <a:avLst/>
              <a:gdLst>
                <a:gd name="T0" fmla="*/ 1050 w 1810"/>
                <a:gd name="T1" fmla="*/ 2467 h 2483"/>
                <a:gd name="T2" fmla="*/ 1248 w 1810"/>
                <a:gd name="T3" fmla="*/ 2383 h 2483"/>
                <a:gd name="T4" fmla="*/ 1414 w 1810"/>
                <a:gd name="T5" fmla="*/ 2245 h 2483"/>
                <a:gd name="T6" fmla="*/ 1578 w 1810"/>
                <a:gd name="T7" fmla="*/ 2055 h 2483"/>
                <a:gd name="T8" fmla="*/ 1714 w 1810"/>
                <a:gd name="T9" fmla="*/ 1758 h 2483"/>
                <a:gd name="T10" fmla="*/ 1790 w 1810"/>
                <a:gd name="T11" fmla="*/ 1370 h 2483"/>
                <a:gd name="T12" fmla="*/ 1810 w 1810"/>
                <a:gd name="T13" fmla="*/ 996 h 2483"/>
                <a:gd name="T14" fmla="*/ 1780 w 1810"/>
                <a:gd name="T15" fmla="*/ 748 h 2483"/>
                <a:gd name="T16" fmla="*/ 1700 w 1810"/>
                <a:gd name="T17" fmla="*/ 522 h 2483"/>
                <a:gd name="T18" fmla="*/ 1574 w 1810"/>
                <a:gd name="T19" fmla="*/ 328 h 2483"/>
                <a:gd name="T20" fmla="*/ 1410 w 1810"/>
                <a:gd name="T21" fmla="*/ 170 h 2483"/>
                <a:gd name="T22" fmla="*/ 1216 w 1810"/>
                <a:gd name="T23" fmla="*/ 62 h 2483"/>
                <a:gd name="T24" fmla="*/ 996 w 1810"/>
                <a:gd name="T25" fmla="*/ 6 h 2483"/>
                <a:gd name="T26" fmla="*/ 812 w 1810"/>
                <a:gd name="T27" fmla="*/ 6 h 2483"/>
                <a:gd name="T28" fmla="*/ 594 w 1810"/>
                <a:gd name="T29" fmla="*/ 62 h 2483"/>
                <a:gd name="T30" fmla="*/ 400 w 1810"/>
                <a:gd name="T31" fmla="*/ 170 h 2483"/>
                <a:gd name="T32" fmla="*/ 236 w 1810"/>
                <a:gd name="T33" fmla="*/ 328 h 2483"/>
                <a:gd name="T34" fmla="*/ 110 w 1810"/>
                <a:gd name="T35" fmla="*/ 522 h 2483"/>
                <a:gd name="T36" fmla="*/ 28 w 1810"/>
                <a:gd name="T37" fmla="*/ 748 h 2483"/>
                <a:gd name="T38" fmla="*/ 0 w 1810"/>
                <a:gd name="T39" fmla="*/ 996 h 2483"/>
                <a:gd name="T40" fmla="*/ 18 w 1810"/>
                <a:gd name="T41" fmla="*/ 1370 h 2483"/>
                <a:gd name="T42" fmla="*/ 96 w 1810"/>
                <a:gd name="T43" fmla="*/ 1758 h 2483"/>
                <a:gd name="T44" fmla="*/ 232 w 1810"/>
                <a:gd name="T45" fmla="*/ 2055 h 2483"/>
                <a:gd name="T46" fmla="*/ 396 w 1810"/>
                <a:gd name="T47" fmla="*/ 2245 h 2483"/>
                <a:gd name="T48" fmla="*/ 560 w 1810"/>
                <a:gd name="T49" fmla="*/ 2383 h 2483"/>
                <a:gd name="T50" fmla="*/ 760 w 1810"/>
                <a:gd name="T51" fmla="*/ 2467 h 2483"/>
                <a:gd name="T52" fmla="*/ 904 w 1810"/>
                <a:gd name="T53" fmla="*/ 286 h 2483"/>
                <a:gd name="T54" fmla="*/ 1030 w 1810"/>
                <a:gd name="T55" fmla="*/ 300 h 2483"/>
                <a:gd name="T56" fmla="*/ 1172 w 1810"/>
                <a:gd name="T57" fmla="*/ 356 h 2483"/>
                <a:gd name="T58" fmla="*/ 1298 w 1810"/>
                <a:gd name="T59" fmla="*/ 448 h 2483"/>
                <a:gd name="T60" fmla="*/ 1400 w 1810"/>
                <a:gd name="T61" fmla="*/ 572 h 2483"/>
                <a:gd name="T62" fmla="*/ 1474 w 1810"/>
                <a:gd name="T63" fmla="*/ 720 h 2483"/>
                <a:gd name="T64" fmla="*/ 1516 w 1810"/>
                <a:gd name="T65" fmla="*/ 888 h 2483"/>
                <a:gd name="T66" fmla="*/ 1522 w 1810"/>
                <a:gd name="T67" fmla="*/ 1080 h 2483"/>
                <a:gd name="T68" fmla="*/ 1490 w 1810"/>
                <a:gd name="T69" fmla="*/ 1454 h 2483"/>
                <a:gd name="T70" fmla="*/ 1412 w 1810"/>
                <a:gd name="T71" fmla="*/ 1750 h 2483"/>
                <a:gd name="T72" fmla="*/ 1294 w 1810"/>
                <a:gd name="T73" fmla="*/ 1955 h 2483"/>
                <a:gd name="T74" fmla="*/ 1132 w 1810"/>
                <a:gd name="T75" fmla="*/ 2115 h 2483"/>
                <a:gd name="T76" fmla="*/ 1020 w 1810"/>
                <a:gd name="T77" fmla="*/ 2179 h 2483"/>
                <a:gd name="T78" fmla="*/ 904 w 1810"/>
                <a:gd name="T79" fmla="*/ 2197 h 2483"/>
                <a:gd name="T80" fmla="*/ 810 w 1810"/>
                <a:gd name="T81" fmla="*/ 2187 h 2483"/>
                <a:gd name="T82" fmla="*/ 700 w 1810"/>
                <a:gd name="T83" fmla="*/ 2133 h 2483"/>
                <a:gd name="T84" fmla="*/ 516 w 1810"/>
                <a:gd name="T85" fmla="*/ 1955 h 2483"/>
                <a:gd name="T86" fmla="*/ 416 w 1810"/>
                <a:gd name="T87" fmla="*/ 1798 h 2483"/>
                <a:gd name="T88" fmla="*/ 330 w 1810"/>
                <a:gd name="T89" fmla="*/ 1520 h 2483"/>
                <a:gd name="T90" fmla="*/ 290 w 1810"/>
                <a:gd name="T91" fmla="*/ 1160 h 2483"/>
                <a:gd name="T92" fmla="*/ 288 w 1810"/>
                <a:gd name="T93" fmla="*/ 924 h 2483"/>
                <a:gd name="T94" fmla="*/ 322 w 1810"/>
                <a:gd name="T95" fmla="*/ 752 h 2483"/>
                <a:gd name="T96" fmla="*/ 392 w 1810"/>
                <a:gd name="T97" fmla="*/ 600 h 2483"/>
                <a:gd name="T98" fmla="*/ 488 w 1810"/>
                <a:gd name="T99" fmla="*/ 470 h 2483"/>
                <a:gd name="T100" fmla="*/ 610 w 1810"/>
                <a:gd name="T101" fmla="*/ 372 h 2483"/>
                <a:gd name="T102" fmla="*/ 750 w 1810"/>
                <a:gd name="T103" fmla="*/ 308 h 2483"/>
                <a:gd name="T104" fmla="*/ 904 w 1810"/>
                <a:gd name="T105" fmla="*/ 286 h 2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10" h="2483">
                  <a:moveTo>
                    <a:pt x="904" y="2483"/>
                  </a:moveTo>
                  <a:lnTo>
                    <a:pt x="904" y="2483"/>
                  </a:lnTo>
                  <a:lnTo>
                    <a:pt x="956" y="2481"/>
                  </a:lnTo>
                  <a:lnTo>
                    <a:pt x="1004" y="2477"/>
                  </a:lnTo>
                  <a:lnTo>
                    <a:pt x="1050" y="2467"/>
                  </a:lnTo>
                  <a:lnTo>
                    <a:pt x="1092" y="2457"/>
                  </a:lnTo>
                  <a:lnTo>
                    <a:pt x="1134" y="2443"/>
                  </a:lnTo>
                  <a:lnTo>
                    <a:pt x="1174" y="2425"/>
                  </a:lnTo>
                  <a:lnTo>
                    <a:pt x="1212" y="2405"/>
                  </a:lnTo>
                  <a:lnTo>
                    <a:pt x="1248" y="2383"/>
                  </a:lnTo>
                  <a:lnTo>
                    <a:pt x="1284" y="2359"/>
                  </a:lnTo>
                  <a:lnTo>
                    <a:pt x="1318" y="2333"/>
                  </a:lnTo>
                  <a:lnTo>
                    <a:pt x="1350" y="2305"/>
                  </a:lnTo>
                  <a:lnTo>
                    <a:pt x="1382" y="2277"/>
                  </a:lnTo>
                  <a:lnTo>
                    <a:pt x="1414" y="2245"/>
                  </a:lnTo>
                  <a:lnTo>
                    <a:pt x="1446" y="2213"/>
                  </a:lnTo>
                  <a:lnTo>
                    <a:pt x="1506" y="2145"/>
                  </a:lnTo>
                  <a:lnTo>
                    <a:pt x="1506" y="2145"/>
                  </a:lnTo>
                  <a:lnTo>
                    <a:pt x="1544" y="2101"/>
                  </a:lnTo>
                  <a:lnTo>
                    <a:pt x="1578" y="2055"/>
                  </a:lnTo>
                  <a:lnTo>
                    <a:pt x="1610" y="2003"/>
                  </a:lnTo>
                  <a:lnTo>
                    <a:pt x="1638" y="1947"/>
                  </a:lnTo>
                  <a:lnTo>
                    <a:pt x="1666" y="1888"/>
                  </a:lnTo>
                  <a:lnTo>
                    <a:pt x="1690" y="1824"/>
                  </a:lnTo>
                  <a:lnTo>
                    <a:pt x="1714" y="1758"/>
                  </a:lnTo>
                  <a:lnTo>
                    <a:pt x="1734" y="1688"/>
                  </a:lnTo>
                  <a:lnTo>
                    <a:pt x="1750" y="1614"/>
                  </a:lnTo>
                  <a:lnTo>
                    <a:pt x="1766" y="1536"/>
                  </a:lnTo>
                  <a:lnTo>
                    <a:pt x="1780" y="1456"/>
                  </a:lnTo>
                  <a:lnTo>
                    <a:pt x="1790" y="1370"/>
                  </a:lnTo>
                  <a:lnTo>
                    <a:pt x="1798" y="1282"/>
                  </a:lnTo>
                  <a:lnTo>
                    <a:pt x="1804" y="1190"/>
                  </a:lnTo>
                  <a:lnTo>
                    <a:pt x="1808" y="1096"/>
                  </a:lnTo>
                  <a:lnTo>
                    <a:pt x="1810" y="996"/>
                  </a:lnTo>
                  <a:lnTo>
                    <a:pt x="1810" y="996"/>
                  </a:lnTo>
                  <a:lnTo>
                    <a:pt x="1808" y="946"/>
                  </a:lnTo>
                  <a:lnTo>
                    <a:pt x="1804" y="894"/>
                  </a:lnTo>
                  <a:lnTo>
                    <a:pt x="1798" y="844"/>
                  </a:lnTo>
                  <a:lnTo>
                    <a:pt x="1790" y="796"/>
                  </a:lnTo>
                  <a:lnTo>
                    <a:pt x="1780" y="748"/>
                  </a:lnTo>
                  <a:lnTo>
                    <a:pt x="1768" y="700"/>
                  </a:lnTo>
                  <a:lnTo>
                    <a:pt x="1754" y="654"/>
                  </a:lnTo>
                  <a:lnTo>
                    <a:pt x="1738" y="610"/>
                  </a:lnTo>
                  <a:lnTo>
                    <a:pt x="1720" y="564"/>
                  </a:lnTo>
                  <a:lnTo>
                    <a:pt x="1700" y="522"/>
                  </a:lnTo>
                  <a:lnTo>
                    <a:pt x="1678" y="480"/>
                  </a:lnTo>
                  <a:lnTo>
                    <a:pt x="1654" y="440"/>
                  </a:lnTo>
                  <a:lnTo>
                    <a:pt x="1630" y="400"/>
                  </a:lnTo>
                  <a:lnTo>
                    <a:pt x="1602" y="364"/>
                  </a:lnTo>
                  <a:lnTo>
                    <a:pt x="1574" y="328"/>
                  </a:lnTo>
                  <a:lnTo>
                    <a:pt x="1544" y="292"/>
                  </a:lnTo>
                  <a:lnTo>
                    <a:pt x="1512" y="260"/>
                  </a:lnTo>
                  <a:lnTo>
                    <a:pt x="1480" y="228"/>
                  </a:lnTo>
                  <a:lnTo>
                    <a:pt x="1446" y="198"/>
                  </a:lnTo>
                  <a:lnTo>
                    <a:pt x="1410" y="170"/>
                  </a:lnTo>
                  <a:lnTo>
                    <a:pt x="1374" y="144"/>
                  </a:lnTo>
                  <a:lnTo>
                    <a:pt x="1336" y="120"/>
                  </a:lnTo>
                  <a:lnTo>
                    <a:pt x="1296" y="98"/>
                  </a:lnTo>
                  <a:lnTo>
                    <a:pt x="1256" y="78"/>
                  </a:lnTo>
                  <a:lnTo>
                    <a:pt x="1216" y="62"/>
                  </a:lnTo>
                  <a:lnTo>
                    <a:pt x="1174" y="46"/>
                  </a:lnTo>
                  <a:lnTo>
                    <a:pt x="1130" y="32"/>
                  </a:lnTo>
                  <a:lnTo>
                    <a:pt x="1086" y="20"/>
                  </a:lnTo>
                  <a:lnTo>
                    <a:pt x="1042" y="12"/>
                  </a:lnTo>
                  <a:lnTo>
                    <a:pt x="996" y="6"/>
                  </a:lnTo>
                  <a:lnTo>
                    <a:pt x="950" y="2"/>
                  </a:lnTo>
                  <a:lnTo>
                    <a:pt x="904" y="0"/>
                  </a:lnTo>
                  <a:lnTo>
                    <a:pt x="904" y="0"/>
                  </a:lnTo>
                  <a:lnTo>
                    <a:pt x="858" y="2"/>
                  </a:lnTo>
                  <a:lnTo>
                    <a:pt x="812" y="6"/>
                  </a:lnTo>
                  <a:lnTo>
                    <a:pt x="766" y="12"/>
                  </a:lnTo>
                  <a:lnTo>
                    <a:pt x="722" y="20"/>
                  </a:lnTo>
                  <a:lnTo>
                    <a:pt x="678" y="32"/>
                  </a:lnTo>
                  <a:lnTo>
                    <a:pt x="636" y="46"/>
                  </a:lnTo>
                  <a:lnTo>
                    <a:pt x="594" y="62"/>
                  </a:lnTo>
                  <a:lnTo>
                    <a:pt x="552" y="78"/>
                  </a:lnTo>
                  <a:lnTo>
                    <a:pt x="512" y="98"/>
                  </a:lnTo>
                  <a:lnTo>
                    <a:pt x="474" y="120"/>
                  </a:lnTo>
                  <a:lnTo>
                    <a:pt x="436" y="144"/>
                  </a:lnTo>
                  <a:lnTo>
                    <a:pt x="400" y="170"/>
                  </a:lnTo>
                  <a:lnTo>
                    <a:pt x="364" y="198"/>
                  </a:lnTo>
                  <a:lnTo>
                    <a:pt x="330" y="228"/>
                  </a:lnTo>
                  <a:lnTo>
                    <a:pt x="296" y="260"/>
                  </a:lnTo>
                  <a:lnTo>
                    <a:pt x="266" y="292"/>
                  </a:lnTo>
                  <a:lnTo>
                    <a:pt x="236" y="328"/>
                  </a:lnTo>
                  <a:lnTo>
                    <a:pt x="206" y="364"/>
                  </a:lnTo>
                  <a:lnTo>
                    <a:pt x="180" y="400"/>
                  </a:lnTo>
                  <a:lnTo>
                    <a:pt x="154" y="440"/>
                  </a:lnTo>
                  <a:lnTo>
                    <a:pt x="130" y="480"/>
                  </a:lnTo>
                  <a:lnTo>
                    <a:pt x="110" y="522"/>
                  </a:lnTo>
                  <a:lnTo>
                    <a:pt x="90" y="564"/>
                  </a:lnTo>
                  <a:lnTo>
                    <a:pt x="72" y="610"/>
                  </a:lnTo>
                  <a:lnTo>
                    <a:pt x="54" y="654"/>
                  </a:lnTo>
                  <a:lnTo>
                    <a:pt x="40" y="700"/>
                  </a:lnTo>
                  <a:lnTo>
                    <a:pt x="28" y="748"/>
                  </a:lnTo>
                  <a:lnTo>
                    <a:pt x="18" y="796"/>
                  </a:lnTo>
                  <a:lnTo>
                    <a:pt x="10" y="844"/>
                  </a:lnTo>
                  <a:lnTo>
                    <a:pt x="4" y="894"/>
                  </a:lnTo>
                  <a:lnTo>
                    <a:pt x="2" y="946"/>
                  </a:lnTo>
                  <a:lnTo>
                    <a:pt x="0" y="996"/>
                  </a:lnTo>
                  <a:lnTo>
                    <a:pt x="0" y="996"/>
                  </a:lnTo>
                  <a:lnTo>
                    <a:pt x="2" y="1096"/>
                  </a:lnTo>
                  <a:lnTo>
                    <a:pt x="4" y="1190"/>
                  </a:lnTo>
                  <a:lnTo>
                    <a:pt x="10" y="1282"/>
                  </a:lnTo>
                  <a:lnTo>
                    <a:pt x="18" y="1370"/>
                  </a:lnTo>
                  <a:lnTo>
                    <a:pt x="30" y="1456"/>
                  </a:lnTo>
                  <a:lnTo>
                    <a:pt x="42" y="1536"/>
                  </a:lnTo>
                  <a:lnTo>
                    <a:pt x="58" y="1614"/>
                  </a:lnTo>
                  <a:lnTo>
                    <a:pt x="76" y="1688"/>
                  </a:lnTo>
                  <a:lnTo>
                    <a:pt x="96" y="1758"/>
                  </a:lnTo>
                  <a:lnTo>
                    <a:pt x="118" y="1824"/>
                  </a:lnTo>
                  <a:lnTo>
                    <a:pt x="144" y="1888"/>
                  </a:lnTo>
                  <a:lnTo>
                    <a:pt x="170" y="1947"/>
                  </a:lnTo>
                  <a:lnTo>
                    <a:pt x="200" y="2003"/>
                  </a:lnTo>
                  <a:lnTo>
                    <a:pt x="232" y="2055"/>
                  </a:lnTo>
                  <a:lnTo>
                    <a:pt x="266" y="2101"/>
                  </a:lnTo>
                  <a:lnTo>
                    <a:pt x="302" y="2145"/>
                  </a:lnTo>
                  <a:lnTo>
                    <a:pt x="302" y="2145"/>
                  </a:lnTo>
                  <a:lnTo>
                    <a:pt x="364" y="2213"/>
                  </a:lnTo>
                  <a:lnTo>
                    <a:pt x="396" y="2245"/>
                  </a:lnTo>
                  <a:lnTo>
                    <a:pt x="426" y="2277"/>
                  </a:lnTo>
                  <a:lnTo>
                    <a:pt x="458" y="2305"/>
                  </a:lnTo>
                  <a:lnTo>
                    <a:pt x="492" y="2333"/>
                  </a:lnTo>
                  <a:lnTo>
                    <a:pt x="526" y="2359"/>
                  </a:lnTo>
                  <a:lnTo>
                    <a:pt x="560" y="2383"/>
                  </a:lnTo>
                  <a:lnTo>
                    <a:pt x="598" y="2405"/>
                  </a:lnTo>
                  <a:lnTo>
                    <a:pt x="636" y="2425"/>
                  </a:lnTo>
                  <a:lnTo>
                    <a:pt x="674" y="2443"/>
                  </a:lnTo>
                  <a:lnTo>
                    <a:pt x="716" y="2457"/>
                  </a:lnTo>
                  <a:lnTo>
                    <a:pt x="760" y="2467"/>
                  </a:lnTo>
                  <a:lnTo>
                    <a:pt x="806" y="2477"/>
                  </a:lnTo>
                  <a:lnTo>
                    <a:pt x="854" y="2481"/>
                  </a:lnTo>
                  <a:lnTo>
                    <a:pt x="904" y="2483"/>
                  </a:lnTo>
                  <a:lnTo>
                    <a:pt x="904" y="2483"/>
                  </a:lnTo>
                  <a:close/>
                  <a:moveTo>
                    <a:pt x="904" y="286"/>
                  </a:moveTo>
                  <a:lnTo>
                    <a:pt x="904" y="286"/>
                  </a:lnTo>
                  <a:lnTo>
                    <a:pt x="936" y="288"/>
                  </a:lnTo>
                  <a:lnTo>
                    <a:pt x="968" y="290"/>
                  </a:lnTo>
                  <a:lnTo>
                    <a:pt x="998" y="294"/>
                  </a:lnTo>
                  <a:lnTo>
                    <a:pt x="1030" y="300"/>
                  </a:lnTo>
                  <a:lnTo>
                    <a:pt x="1060" y="308"/>
                  </a:lnTo>
                  <a:lnTo>
                    <a:pt x="1088" y="318"/>
                  </a:lnTo>
                  <a:lnTo>
                    <a:pt x="1118" y="330"/>
                  </a:lnTo>
                  <a:lnTo>
                    <a:pt x="1146" y="342"/>
                  </a:lnTo>
                  <a:lnTo>
                    <a:pt x="1172" y="356"/>
                  </a:lnTo>
                  <a:lnTo>
                    <a:pt x="1200" y="372"/>
                  </a:lnTo>
                  <a:lnTo>
                    <a:pt x="1226" y="390"/>
                  </a:lnTo>
                  <a:lnTo>
                    <a:pt x="1250" y="408"/>
                  </a:lnTo>
                  <a:lnTo>
                    <a:pt x="1274" y="428"/>
                  </a:lnTo>
                  <a:lnTo>
                    <a:pt x="1298" y="448"/>
                  </a:lnTo>
                  <a:lnTo>
                    <a:pt x="1320" y="470"/>
                  </a:lnTo>
                  <a:lnTo>
                    <a:pt x="1342" y="494"/>
                  </a:lnTo>
                  <a:lnTo>
                    <a:pt x="1362" y="518"/>
                  </a:lnTo>
                  <a:lnTo>
                    <a:pt x="1382" y="544"/>
                  </a:lnTo>
                  <a:lnTo>
                    <a:pt x="1400" y="572"/>
                  </a:lnTo>
                  <a:lnTo>
                    <a:pt x="1418" y="600"/>
                  </a:lnTo>
                  <a:lnTo>
                    <a:pt x="1434" y="628"/>
                  </a:lnTo>
                  <a:lnTo>
                    <a:pt x="1448" y="658"/>
                  </a:lnTo>
                  <a:lnTo>
                    <a:pt x="1462" y="688"/>
                  </a:lnTo>
                  <a:lnTo>
                    <a:pt x="1474" y="720"/>
                  </a:lnTo>
                  <a:lnTo>
                    <a:pt x="1486" y="752"/>
                  </a:lnTo>
                  <a:lnTo>
                    <a:pt x="1496" y="786"/>
                  </a:lnTo>
                  <a:lnTo>
                    <a:pt x="1504" y="818"/>
                  </a:lnTo>
                  <a:lnTo>
                    <a:pt x="1512" y="854"/>
                  </a:lnTo>
                  <a:lnTo>
                    <a:pt x="1516" y="888"/>
                  </a:lnTo>
                  <a:lnTo>
                    <a:pt x="1520" y="924"/>
                  </a:lnTo>
                  <a:lnTo>
                    <a:pt x="1522" y="960"/>
                  </a:lnTo>
                  <a:lnTo>
                    <a:pt x="1524" y="996"/>
                  </a:lnTo>
                  <a:lnTo>
                    <a:pt x="1524" y="996"/>
                  </a:lnTo>
                  <a:lnTo>
                    <a:pt x="1522" y="1080"/>
                  </a:lnTo>
                  <a:lnTo>
                    <a:pt x="1520" y="1160"/>
                  </a:lnTo>
                  <a:lnTo>
                    <a:pt x="1516" y="1238"/>
                  </a:lnTo>
                  <a:lnTo>
                    <a:pt x="1508" y="1314"/>
                  </a:lnTo>
                  <a:lnTo>
                    <a:pt x="1500" y="1386"/>
                  </a:lnTo>
                  <a:lnTo>
                    <a:pt x="1490" y="1454"/>
                  </a:lnTo>
                  <a:lnTo>
                    <a:pt x="1478" y="1520"/>
                  </a:lnTo>
                  <a:lnTo>
                    <a:pt x="1464" y="1582"/>
                  </a:lnTo>
                  <a:lnTo>
                    <a:pt x="1448" y="1642"/>
                  </a:lnTo>
                  <a:lnTo>
                    <a:pt x="1432" y="1698"/>
                  </a:lnTo>
                  <a:lnTo>
                    <a:pt x="1412" y="1750"/>
                  </a:lnTo>
                  <a:lnTo>
                    <a:pt x="1392" y="1798"/>
                  </a:lnTo>
                  <a:lnTo>
                    <a:pt x="1370" y="1844"/>
                  </a:lnTo>
                  <a:lnTo>
                    <a:pt x="1346" y="1884"/>
                  </a:lnTo>
                  <a:lnTo>
                    <a:pt x="1320" y="1922"/>
                  </a:lnTo>
                  <a:lnTo>
                    <a:pt x="1294" y="1955"/>
                  </a:lnTo>
                  <a:lnTo>
                    <a:pt x="1294" y="1955"/>
                  </a:lnTo>
                  <a:lnTo>
                    <a:pt x="1234" y="2021"/>
                  </a:lnTo>
                  <a:lnTo>
                    <a:pt x="1180" y="2073"/>
                  </a:lnTo>
                  <a:lnTo>
                    <a:pt x="1156" y="2097"/>
                  </a:lnTo>
                  <a:lnTo>
                    <a:pt x="1132" y="2115"/>
                  </a:lnTo>
                  <a:lnTo>
                    <a:pt x="1108" y="2133"/>
                  </a:lnTo>
                  <a:lnTo>
                    <a:pt x="1086" y="2147"/>
                  </a:lnTo>
                  <a:lnTo>
                    <a:pt x="1064" y="2161"/>
                  </a:lnTo>
                  <a:lnTo>
                    <a:pt x="1042" y="2171"/>
                  </a:lnTo>
                  <a:lnTo>
                    <a:pt x="1020" y="2179"/>
                  </a:lnTo>
                  <a:lnTo>
                    <a:pt x="998" y="2187"/>
                  </a:lnTo>
                  <a:lnTo>
                    <a:pt x="976" y="2191"/>
                  </a:lnTo>
                  <a:lnTo>
                    <a:pt x="954" y="2195"/>
                  </a:lnTo>
                  <a:lnTo>
                    <a:pt x="930" y="2197"/>
                  </a:lnTo>
                  <a:lnTo>
                    <a:pt x="904" y="2197"/>
                  </a:lnTo>
                  <a:lnTo>
                    <a:pt x="904" y="2197"/>
                  </a:lnTo>
                  <a:lnTo>
                    <a:pt x="880" y="2197"/>
                  </a:lnTo>
                  <a:lnTo>
                    <a:pt x="856" y="2195"/>
                  </a:lnTo>
                  <a:lnTo>
                    <a:pt x="832" y="2191"/>
                  </a:lnTo>
                  <a:lnTo>
                    <a:pt x="810" y="2187"/>
                  </a:lnTo>
                  <a:lnTo>
                    <a:pt x="788" y="2179"/>
                  </a:lnTo>
                  <a:lnTo>
                    <a:pt x="766" y="2171"/>
                  </a:lnTo>
                  <a:lnTo>
                    <a:pt x="744" y="2161"/>
                  </a:lnTo>
                  <a:lnTo>
                    <a:pt x="722" y="2147"/>
                  </a:lnTo>
                  <a:lnTo>
                    <a:pt x="700" y="2133"/>
                  </a:lnTo>
                  <a:lnTo>
                    <a:pt x="676" y="2115"/>
                  </a:lnTo>
                  <a:lnTo>
                    <a:pt x="654" y="2097"/>
                  </a:lnTo>
                  <a:lnTo>
                    <a:pt x="628" y="2073"/>
                  </a:lnTo>
                  <a:lnTo>
                    <a:pt x="574" y="2021"/>
                  </a:lnTo>
                  <a:lnTo>
                    <a:pt x="516" y="1955"/>
                  </a:lnTo>
                  <a:lnTo>
                    <a:pt x="516" y="1955"/>
                  </a:lnTo>
                  <a:lnTo>
                    <a:pt x="488" y="1922"/>
                  </a:lnTo>
                  <a:lnTo>
                    <a:pt x="462" y="1884"/>
                  </a:lnTo>
                  <a:lnTo>
                    <a:pt x="438" y="1844"/>
                  </a:lnTo>
                  <a:lnTo>
                    <a:pt x="416" y="1798"/>
                  </a:lnTo>
                  <a:lnTo>
                    <a:pt x="396" y="1750"/>
                  </a:lnTo>
                  <a:lnTo>
                    <a:pt x="378" y="1698"/>
                  </a:lnTo>
                  <a:lnTo>
                    <a:pt x="360" y="1642"/>
                  </a:lnTo>
                  <a:lnTo>
                    <a:pt x="344" y="1582"/>
                  </a:lnTo>
                  <a:lnTo>
                    <a:pt x="330" y="1520"/>
                  </a:lnTo>
                  <a:lnTo>
                    <a:pt x="318" y="1454"/>
                  </a:lnTo>
                  <a:lnTo>
                    <a:pt x="308" y="1386"/>
                  </a:lnTo>
                  <a:lnTo>
                    <a:pt x="300" y="1314"/>
                  </a:lnTo>
                  <a:lnTo>
                    <a:pt x="294" y="1238"/>
                  </a:lnTo>
                  <a:lnTo>
                    <a:pt x="290" y="1160"/>
                  </a:lnTo>
                  <a:lnTo>
                    <a:pt x="286" y="1080"/>
                  </a:lnTo>
                  <a:lnTo>
                    <a:pt x="286" y="996"/>
                  </a:lnTo>
                  <a:lnTo>
                    <a:pt x="286" y="996"/>
                  </a:lnTo>
                  <a:lnTo>
                    <a:pt x="286" y="960"/>
                  </a:lnTo>
                  <a:lnTo>
                    <a:pt x="288" y="924"/>
                  </a:lnTo>
                  <a:lnTo>
                    <a:pt x="292" y="888"/>
                  </a:lnTo>
                  <a:lnTo>
                    <a:pt x="298" y="854"/>
                  </a:lnTo>
                  <a:lnTo>
                    <a:pt x="304" y="818"/>
                  </a:lnTo>
                  <a:lnTo>
                    <a:pt x="314" y="786"/>
                  </a:lnTo>
                  <a:lnTo>
                    <a:pt x="322" y="752"/>
                  </a:lnTo>
                  <a:lnTo>
                    <a:pt x="334" y="720"/>
                  </a:lnTo>
                  <a:lnTo>
                    <a:pt x="346" y="688"/>
                  </a:lnTo>
                  <a:lnTo>
                    <a:pt x="360" y="658"/>
                  </a:lnTo>
                  <a:lnTo>
                    <a:pt x="376" y="628"/>
                  </a:lnTo>
                  <a:lnTo>
                    <a:pt x="392" y="600"/>
                  </a:lnTo>
                  <a:lnTo>
                    <a:pt x="408" y="572"/>
                  </a:lnTo>
                  <a:lnTo>
                    <a:pt x="426" y="544"/>
                  </a:lnTo>
                  <a:lnTo>
                    <a:pt x="446" y="518"/>
                  </a:lnTo>
                  <a:lnTo>
                    <a:pt x="466" y="494"/>
                  </a:lnTo>
                  <a:lnTo>
                    <a:pt x="488" y="470"/>
                  </a:lnTo>
                  <a:lnTo>
                    <a:pt x="510" y="448"/>
                  </a:lnTo>
                  <a:lnTo>
                    <a:pt x="534" y="428"/>
                  </a:lnTo>
                  <a:lnTo>
                    <a:pt x="558" y="408"/>
                  </a:lnTo>
                  <a:lnTo>
                    <a:pt x="584" y="390"/>
                  </a:lnTo>
                  <a:lnTo>
                    <a:pt x="610" y="372"/>
                  </a:lnTo>
                  <a:lnTo>
                    <a:pt x="636" y="356"/>
                  </a:lnTo>
                  <a:lnTo>
                    <a:pt x="664" y="342"/>
                  </a:lnTo>
                  <a:lnTo>
                    <a:pt x="692" y="330"/>
                  </a:lnTo>
                  <a:lnTo>
                    <a:pt x="720" y="318"/>
                  </a:lnTo>
                  <a:lnTo>
                    <a:pt x="750" y="308"/>
                  </a:lnTo>
                  <a:lnTo>
                    <a:pt x="780" y="300"/>
                  </a:lnTo>
                  <a:lnTo>
                    <a:pt x="810" y="294"/>
                  </a:lnTo>
                  <a:lnTo>
                    <a:pt x="842" y="290"/>
                  </a:lnTo>
                  <a:lnTo>
                    <a:pt x="872" y="288"/>
                  </a:lnTo>
                  <a:lnTo>
                    <a:pt x="904" y="286"/>
                  </a:lnTo>
                  <a:lnTo>
                    <a:pt x="904" y="2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</p:grpSp>
      <p:grpSp>
        <p:nvGrpSpPr>
          <p:cNvPr id="30" name="Group 29"/>
          <p:cNvGrpSpPr/>
          <p:nvPr/>
        </p:nvGrpSpPr>
        <p:grpSpPr>
          <a:xfrm>
            <a:off x="2040368" y="1133356"/>
            <a:ext cx="10010628" cy="975747"/>
            <a:chOff x="2040368" y="1133356"/>
            <a:chExt cx="10010628" cy="975747"/>
          </a:xfrm>
        </p:grpSpPr>
        <p:cxnSp>
          <p:nvCxnSpPr>
            <p:cNvPr id="18" name="Straight Connector 17"/>
            <p:cNvCxnSpPr/>
            <p:nvPr/>
          </p:nvCxnSpPr>
          <p:spPr>
            <a:xfrm>
              <a:off x="2040368" y="2109103"/>
              <a:ext cx="10010628" cy="0"/>
            </a:xfrm>
            <a:prstGeom prst="line">
              <a:avLst/>
            </a:prstGeom>
            <a:ln w="3175" cap="sq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sp>
          <p:nvSpPr>
            <p:cNvPr id="7" name="Rectangle 6"/>
            <p:cNvSpPr/>
            <p:nvPr/>
          </p:nvSpPr>
          <p:spPr>
            <a:xfrm>
              <a:off x="2303910" y="1133356"/>
              <a:ext cx="3701510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>
                <a:buClr>
                  <a:schemeClr val="lt2"/>
                </a:buClr>
                <a:buSzPct val="25000"/>
              </a:pPr>
              <a:r>
                <a:rPr lang="lv-LV" sz="1200" b="1" dirty="0">
                  <a:ea typeface="Georgia"/>
                  <a:cs typeface="Georgia"/>
                  <a:sym typeface="Georgia"/>
                </a:rPr>
                <a:t>Demogrāfiskie dati (vecums, vieta, amats, u.c.</a:t>
              </a:r>
              <a:r>
                <a:rPr lang="lv-LV" sz="1200" dirty="0">
                  <a:ea typeface="Georgia"/>
                  <a:cs typeface="Georgia"/>
                  <a:sym typeface="Georgia"/>
                </a:rPr>
                <a:t>)</a:t>
              </a:r>
            </a:p>
          </p:txBody>
        </p:sp>
      </p:grpSp>
      <p:grpSp>
        <p:nvGrpSpPr>
          <p:cNvPr id="31" name="Group 30"/>
          <p:cNvGrpSpPr/>
          <p:nvPr/>
        </p:nvGrpSpPr>
        <p:grpSpPr>
          <a:xfrm>
            <a:off x="442912" y="2469350"/>
            <a:ext cx="11692149" cy="1183401"/>
            <a:chOff x="442912" y="2469350"/>
            <a:chExt cx="11692149" cy="1183401"/>
          </a:xfrm>
        </p:grpSpPr>
        <p:sp>
          <p:nvSpPr>
            <p:cNvPr id="8" name="Rectangle 7"/>
            <p:cNvSpPr/>
            <p:nvPr/>
          </p:nvSpPr>
          <p:spPr>
            <a:xfrm>
              <a:off x="442912" y="2469350"/>
              <a:ext cx="1639222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lvl="0">
                <a:buClr>
                  <a:schemeClr val="lt2"/>
                </a:buClr>
                <a:buSzPct val="25000"/>
              </a:pPr>
              <a:r>
                <a:rPr lang="lv-LV" sz="1200" b="1" dirty="0">
                  <a:ea typeface="Georgia"/>
                  <a:cs typeface="Georgia"/>
                  <a:sym typeface="Georgia"/>
                </a:rPr>
                <a:t>Vajadzības &amp; mērķis</a:t>
              </a:r>
            </a:p>
          </p:txBody>
        </p:sp>
        <p:cxnSp>
          <p:nvCxnSpPr>
            <p:cNvPr id="13" name="Straight Connector 12"/>
            <p:cNvCxnSpPr/>
            <p:nvPr/>
          </p:nvCxnSpPr>
          <p:spPr>
            <a:xfrm>
              <a:off x="442912" y="3652750"/>
              <a:ext cx="11692149" cy="1"/>
            </a:xfrm>
            <a:prstGeom prst="line">
              <a:avLst/>
            </a:prstGeom>
            <a:ln w="3175" cap="sq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32" name="Group 31"/>
          <p:cNvGrpSpPr/>
          <p:nvPr/>
        </p:nvGrpSpPr>
        <p:grpSpPr>
          <a:xfrm>
            <a:off x="442911" y="3814475"/>
            <a:ext cx="11692150" cy="1183401"/>
            <a:chOff x="442911" y="3814476"/>
            <a:chExt cx="11692150" cy="1183401"/>
          </a:xfrm>
        </p:grpSpPr>
        <p:sp>
          <p:nvSpPr>
            <p:cNvPr id="9" name="Rectangle 8"/>
            <p:cNvSpPr/>
            <p:nvPr/>
          </p:nvSpPr>
          <p:spPr>
            <a:xfrm>
              <a:off x="442911" y="3814476"/>
              <a:ext cx="724699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lvl="0">
                <a:buClr>
                  <a:schemeClr val="lt2"/>
                </a:buClr>
                <a:buSzPct val="25000"/>
              </a:pPr>
              <a:r>
                <a:rPr lang="lv-LV" sz="1200" b="1" dirty="0">
                  <a:ea typeface="Georgia"/>
                  <a:cs typeface="Georgia"/>
                  <a:sym typeface="Georgia"/>
                </a:rPr>
                <a:t>Uzvedība</a:t>
              </a:r>
            </a:p>
          </p:txBody>
        </p:sp>
        <p:cxnSp>
          <p:nvCxnSpPr>
            <p:cNvPr id="14" name="Straight Connector 13"/>
            <p:cNvCxnSpPr/>
            <p:nvPr/>
          </p:nvCxnSpPr>
          <p:spPr>
            <a:xfrm>
              <a:off x="442912" y="4997876"/>
              <a:ext cx="11692149" cy="1"/>
            </a:xfrm>
            <a:prstGeom prst="line">
              <a:avLst/>
            </a:prstGeom>
            <a:ln w="3175" cap="sq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33" name="Group 32"/>
          <p:cNvGrpSpPr/>
          <p:nvPr/>
        </p:nvGrpSpPr>
        <p:grpSpPr>
          <a:xfrm>
            <a:off x="442912" y="5159600"/>
            <a:ext cx="11692149" cy="1183401"/>
            <a:chOff x="442912" y="5159602"/>
            <a:chExt cx="11692149" cy="1183401"/>
          </a:xfrm>
        </p:grpSpPr>
        <p:sp>
          <p:nvSpPr>
            <p:cNvPr id="10" name="Rectangle 9"/>
            <p:cNvSpPr/>
            <p:nvPr/>
          </p:nvSpPr>
          <p:spPr>
            <a:xfrm>
              <a:off x="442912" y="5159602"/>
              <a:ext cx="842722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lvl="0">
                <a:buClr>
                  <a:schemeClr val="lt2"/>
                </a:buClr>
                <a:buSzPct val="25000"/>
              </a:pPr>
              <a:r>
                <a:rPr lang="lv-LV" sz="1200" b="1" dirty="0">
                  <a:ea typeface="Georgia"/>
                  <a:cs typeface="Georgia"/>
                  <a:sym typeface="Georgia"/>
                </a:rPr>
                <a:t>Problēmas</a:t>
              </a:r>
            </a:p>
          </p:txBody>
        </p:sp>
        <p:cxnSp>
          <p:nvCxnSpPr>
            <p:cNvPr id="15" name="Straight Connector 14"/>
            <p:cNvCxnSpPr/>
            <p:nvPr/>
          </p:nvCxnSpPr>
          <p:spPr>
            <a:xfrm>
              <a:off x="442912" y="6343002"/>
              <a:ext cx="11692149" cy="1"/>
            </a:xfrm>
            <a:prstGeom prst="line">
              <a:avLst/>
            </a:prstGeom>
            <a:ln w="3175" cap="sq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34" name="Group 33"/>
          <p:cNvGrpSpPr/>
          <p:nvPr/>
        </p:nvGrpSpPr>
        <p:grpSpPr>
          <a:xfrm>
            <a:off x="442912" y="6504725"/>
            <a:ext cx="11692149" cy="1183402"/>
            <a:chOff x="442912" y="6504727"/>
            <a:chExt cx="11692149" cy="1183402"/>
          </a:xfrm>
        </p:grpSpPr>
        <p:sp>
          <p:nvSpPr>
            <p:cNvPr id="11" name="Rectangle 10"/>
            <p:cNvSpPr/>
            <p:nvPr/>
          </p:nvSpPr>
          <p:spPr>
            <a:xfrm>
              <a:off x="442912" y="6504727"/>
              <a:ext cx="987662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lvl="0">
                <a:buClr>
                  <a:schemeClr val="lt2"/>
                </a:buClr>
                <a:buSzPct val="25000"/>
              </a:pPr>
              <a:r>
                <a:rPr lang="lv-LV" sz="1200" b="1" dirty="0">
                  <a:ea typeface="Georgia"/>
                  <a:cs typeface="Georgia"/>
                  <a:sym typeface="Georgia"/>
                </a:rPr>
                <a:t>Bailes/bažas</a:t>
              </a:r>
            </a:p>
          </p:txBody>
        </p:sp>
        <p:cxnSp>
          <p:nvCxnSpPr>
            <p:cNvPr id="16" name="Straight Connector 15"/>
            <p:cNvCxnSpPr/>
            <p:nvPr/>
          </p:nvCxnSpPr>
          <p:spPr>
            <a:xfrm>
              <a:off x="442912" y="7688128"/>
              <a:ext cx="11692149" cy="1"/>
            </a:xfrm>
            <a:prstGeom prst="line">
              <a:avLst/>
            </a:prstGeom>
            <a:ln w="3175" cap="sq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29" name="Group 28"/>
          <p:cNvGrpSpPr/>
          <p:nvPr/>
        </p:nvGrpSpPr>
        <p:grpSpPr>
          <a:xfrm>
            <a:off x="2303910" y="484799"/>
            <a:ext cx="9788851" cy="509771"/>
            <a:chOff x="2303910" y="484799"/>
            <a:chExt cx="9788851" cy="509771"/>
          </a:xfrm>
        </p:grpSpPr>
        <p:sp>
          <p:nvSpPr>
            <p:cNvPr id="6" name="Rectangle 5"/>
            <p:cNvSpPr/>
            <p:nvPr/>
          </p:nvSpPr>
          <p:spPr>
            <a:xfrm>
              <a:off x="2303910" y="484799"/>
              <a:ext cx="457596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lvl="0">
                <a:buClr>
                  <a:schemeClr val="lt2"/>
                </a:buClr>
                <a:buSzPct val="25000"/>
              </a:pPr>
              <a:r>
                <a:rPr lang="lv-LV" sz="1200" b="1" dirty="0">
                  <a:ea typeface="Georgia"/>
                  <a:cs typeface="Georgia"/>
                  <a:sym typeface="Georgia"/>
                </a:rPr>
                <a:t>Vārds</a:t>
              </a:r>
              <a:endParaRPr lang="en-US" sz="1200" b="1" i="1" dirty="0">
                <a:ea typeface="Georgia"/>
                <a:cs typeface="Georgia"/>
                <a:sym typeface="Georgia"/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>
            <a:xfrm>
              <a:off x="2303910" y="994570"/>
              <a:ext cx="9788851" cy="0"/>
            </a:xfrm>
            <a:prstGeom prst="line">
              <a:avLst/>
            </a:prstGeom>
            <a:ln w="3175" cap="sq">
              <a:solidFill>
                <a:schemeClr val="accent5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35" name="Group 34"/>
          <p:cNvGrpSpPr/>
          <p:nvPr/>
        </p:nvGrpSpPr>
        <p:grpSpPr>
          <a:xfrm>
            <a:off x="442911" y="7849852"/>
            <a:ext cx="11692150" cy="1183403"/>
            <a:chOff x="442911" y="7849852"/>
            <a:chExt cx="11692150" cy="1183403"/>
          </a:xfrm>
        </p:grpSpPr>
        <p:sp>
          <p:nvSpPr>
            <p:cNvPr id="12" name="Rectangle 11"/>
            <p:cNvSpPr/>
            <p:nvPr/>
          </p:nvSpPr>
          <p:spPr>
            <a:xfrm>
              <a:off x="442911" y="7849852"/>
              <a:ext cx="5045309" cy="184666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/>
            <a:p>
              <a:pPr lvl="0">
                <a:buClr>
                  <a:schemeClr val="lt2"/>
                </a:buClr>
                <a:buSzPct val="25000"/>
              </a:pPr>
              <a:r>
                <a:rPr lang="lv-LV" sz="1200" b="1" dirty="0">
                  <a:ea typeface="Georgia"/>
                  <a:cs typeface="Georgia"/>
                  <a:sym typeface="Georgia"/>
                </a:rPr>
                <a:t>Pieņēmumi </a:t>
              </a:r>
              <a:r>
                <a:rPr lang="lv-LV" sz="1200" dirty="0">
                  <a:ea typeface="Georgia"/>
                  <a:cs typeface="Georgia"/>
                  <a:sym typeface="Georgia"/>
                </a:rPr>
                <a:t>(1. Par personu; 2. Ko mēs varam darīt personas labā?)</a:t>
              </a:r>
            </a:p>
          </p:txBody>
        </p:sp>
        <p:cxnSp>
          <p:nvCxnSpPr>
            <p:cNvPr id="27" name="Straight Connector 26"/>
            <p:cNvCxnSpPr/>
            <p:nvPr/>
          </p:nvCxnSpPr>
          <p:spPr>
            <a:xfrm>
              <a:off x="442912" y="9033254"/>
              <a:ext cx="11692149" cy="1"/>
            </a:xfrm>
            <a:prstGeom prst="line">
              <a:avLst/>
            </a:prstGeom>
            <a:ln w="3175" cap="sq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</p:spTree>
    <p:extLst>
      <p:ext uri="{BB962C8B-B14F-4D97-AF65-F5344CB8AC3E}">
        <p14:creationId xmlns:p14="http://schemas.microsoft.com/office/powerpoint/2010/main" val="203131913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2403" y="1"/>
            <a:ext cx="1586555" cy="9601199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24246571"/>
              </p:ext>
            </p:extLst>
          </p:nvPr>
        </p:nvGraphicFramePr>
        <p:xfrm>
          <a:off x="1798651" y="191068"/>
          <a:ext cx="10770936" cy="8514240"/>
        </p:xfrm>
        <a:graphic>
          <a:graphicData uri="http://schemas.openxmlformats.org/drawingml/2006/table">
            <a:tbl>
              <a:tblPr firstRow="1" bandRow="1"/>
              <a:tblGrid>
                <a:gridCol w="1346367">
                  <a:extLst>
                    <a:ext uri="{9D8B030D-6E8A-4147-A177-3AD203B41FA5}">
                      <a16:colId xmlns:a16="http://schemas.microsoft.com/office/drawing/2014/main" val="4182009677"/>
                    </a:ext>
                  </a:extLst>
                </a:gridCol>
                <a:gridCol w="1346367">
                  <a:extLst>
                    <a:ext uri="{9D8B030D-6E8A-4147-A177-3AD203B41FA5}">
                      <a16:colId xmlns:a16="http://schemas.microsoft.com/office/drawing/2014/main" val="3647434785"/>
                    </a:ext>
                  </a:extLst>
                </a:gridCol>
                <a:gridCol w="1346367">
                  <a:extLst>
                    <a:ext uri="{9D8B030D-6E8A-4147-A177-3AD203B41FA5}">
                      <a16:colId xmlns:a16="http://schemas.microsoft.com/office/drawing/2014/main" val="2022578334"/>
                    </a:ext>
                  </a:extLst>
                </a:gridCol>
                <a:gridCol w="1346367">
                  <a:extLst>
                    <a:ext uri="{9D8B030D-6E8A-4147-A177-3AD203B41FA5}">
                      <a16:colId xmlns:a16="http://schemas.microsoft.com/office/drawing/2014/main" val="696370684"/>
                    </a:ext>
                  </a:extLst>
                </a:gridCol>
                <a:gridCol w="1346367">
                  <a:extLst>
                    <a:ext uri="{9D8B030D-6E8A-4147-A177-3AD203B41FA5}">
                      <a16:colId xmlns:a16="http://schemas.microsoft.com/office/drawing/2014/main" val="318567485"/>
                    </a:ext>
                  </a:extLst>
                </a:gridCol>
                <a:gridCol w="1346367">
                  <a:extLst>
                    <a:ext uri="{9D8B030D-6E8A-4147-A177-3AD203B41FA5}">
                      <a16:colId xmlns:a16="http://schemas.microsoft.com/office/drawing/2014/main" val="825329528"/>
                    </a:ext>
                  </a:extLst>
                </a:gridCol>
                <a:gridCol w="1346367">
                  <a:extLst>
                    <a:ext uri="{9D8B030D-6E8A-4147-A177-3AD203B41FA5}">
                      <a16:colId xmlns:a16="http://schemas.microsoft.com/office/drawing/2014/main" val="4231456311"/>
                    </a:ext>
                  </a:extLst>
                </a:gridCol>
                <a:gridCol w="1346367">
                  <a:extLst>
                    <a:ext uri="{9D8B030D-6E8A-4147-A177-3AD203B41FA5}">
                      <a16:colId xmlns:a16="http://schemas.microsoft.com/office/drawing/2014/main" val="12849095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/>
                      <a:r>
                        <a:rPr lang="lv-LV" sz="1100" b="1" dirty="0">
                          <a:latin typeface="+mn-lt"/>
                        </a:rPr>
                        <a:t>Ko persona dara?</a:t>
                      </a:r>
                      <a:r>
                        <a:rPr lang="lv-LV" sz="1100" b="1" baseline="0" dirty="0">
                          <a:latin typeface="+mn-lt"/>
                        </a:rPr>
                        <a:t> </a:t>
                      </a:r>
                      <a:endParaRPr lang="en-GB" sz="1100" b="1" dirty="0">
                        <a:latin typeface="+mn-lt"/>
                      </a:endParaRPr>
                    </a:p>
                  </a:txBody>
                  <a:tcPr marL="108000" marR="72000" marT="360000" marB="288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 dirty="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 dirty="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 dirty="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 dirty="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 dirty="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 dirty="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876927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lv-LV" sz="1100" b="1" dirty="0">
                          <a:latin typeface="+mn-lt"/>
                        </a:rPr>
                        <a:t>Ko persona jūt? </a:t>
                      </a:r>
                      <a:endParaRPr lang="en-GB" sz="1100" b="1" dirty="0">
                        <a:latin typeface="+mn-lt"/>
                      </a:endParaRPr>
                    </a:p>
                  </a:txBody>
                  <a:tcPr marL="108000" marR="72000" marT="360000" marB="288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 dirty="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 dirty="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679160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lv-LV" sz="1100" b="1" dirty="0">
                          <a:latin typeface="+mn-lt"/>
                        </a:rPr>
                        <a:t>Kādas ir personas vajadzības? </a:t>
                      </a:r>
                      <a:endParaRPr lang="en-GB" sz="1100" b="1" dirty="0">
                        <a:latin typeface="+mn-lt"/>
                      </a:endParaRPr>
                    </a:p>
                    <a:p>
                      <a:pPr algn="l"/>
                      <a:r>
                        <a:rPr lang="lv-LV" sz="1100" b="1" dirty="0">
                          <a:latin typeface="+mn-lt"/>
                        </a:rPr>
                        <a:t>  </a:t>
                      </a:r>
                      <a:endParaRPr lang="en-GB" sz="1100" b="1" dirty="0">
                        <a:latin typeface="+mn-lt"/>
                      </a:endParaRPr>
                    </a:p>
                  </a:txBody>
                  <a:tcPr marL="108000" marR="72000" marT="360000" marB="288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 dirty="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7927992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lv-LV" sz="1100" b="1" dirty="0">
                          <a:latin typeface="+mn-lt"/>
                        </a:rPr>
                        <a:t>Kādi ir personas mērķi? </a:t>
                      </a:r>
                      <a:endParaRPr lang="en-GB" sz="1100" b="1" dirty="0">
                        <a:latin typeface="+mn-lt"/>
                      </a:endParaRPr>
                    </a:p>
                  </a:txBody>
                  <a:tcPr marL="108000" marR="72000" marT="360000" marB="288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GB" sz="11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GB" sz="1100" b="0" i="0" u="none" strike="noStrike" kern="0" cap="none" spc="0" normalizeH="0" baseline="0" noProof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cs typeface="Arial"/>
                        <a:sym typeface="Arial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58839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lv-LV" sz="1100" b="1">
                          <a:latin typeface="+mn-lt"/>
                        </a:rPr>
                        <a:t>Soļi</a:t>
                      </a:r>
                      <a:r>
                        <a:rPr lang="lv-LV" sz="1100" b="1" baseline="0">
                          <a:latin typeface="+mn-lt"/>
                        </a:rPr>
                        <a:t> / aktivitātes </a:t>
                      </a:r>
                      <a:endParaRPr lang="en-GB" sz="1100" b="1">
                        <a:latin typeface="+mn-lt"/>
                      </a:endParaRPr>
                    </a:p>
                  </a:txBody>
                  <a:tcPr marL="108000" marR="72000" marT="360000" marB="288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 dirty="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 dirty="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54019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lv-LV" sz="1100" b="1">
                          <a:latin typeface="+mn-lt"/>
                        </a:rPr>
                        <a:t>Saskares</a:t>
                      </a:r>
                      <a:r>
                        <a:rPr lang="lv-LV" sz="1100" b="1" baseline="0">
                          <a:latin typeface="+mn-lt"/>
                        </a:rPr>
                        <a:t> punkti/kanāli </a:t>
                      </a:r>
                      <a:endParaRPr lang="en-GB" sz="1100" b="1">
                        <a:latin typeface="+mn-lt"/>
                      </a:endParaRPr>
                    </a:p>
                  </a:txBody>
                  <a:tcPr marL="108000" marR="72000" marT="360000" marB="288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 dirty="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 dirty="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 dirty="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 dirty="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 dirty="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 dirty="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980196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lv-LV" sz="1100" b="1">
                          <a:latin typeface="+mn-lt"/>
                        </a:rPr>
                        <a:t>Iztērētais / pavadītais laiks</a:t>
                      </a:r>
                      <a:r>
                        <a:rPr lang="lv-LV" sz="1100" b="1" baseline="0">
                          <a:latin typeface="+mn-lt"/>
                        </a:rPr>
                        <a:t> </a:t>
                      </a:r>
                      <a:endParaRPr lang="en-GB" sz="1100" b="1">
                        <a:latin typeface="+mn-lt"/>
                      </a:endParaRPr>
                    </a:p>
                  </a:txBody>
                  <a:tcPr marL="108000" marR="72000" marT="360000" marB="288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 dirty="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97241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lv-LV" sz="1100" b="1">
                          <a:latin typeface="+mn-lt"/>
                        </a:rPr>
                        <a:t>Problēmas</a:t>
                      </a:r>
                      <a:endParaRPr lang="en-GB" sz="1100" b="1">
                        <a:latin typeface="+mn-lt"/>
                      </a:endParaRPr>
                    </a:p>
                  </a:txBody>
                  <a:tcPr marL="108000" marR="72000" marT="360000" marB="288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1797213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lv-LV" sz="1100" b="1" dirty="0">
                          <a:latin typeface="+mn-lt"/>
                        </a:rPr>
                        <a:t>Idejas / iespējas </a:t>
                      </a:r>
                      <a:r>
                        <a:rPr lang="lv-LV" sz="1100" b="1" baseline="0" dirty="0">
                          <a:latin typeface="+mn-lt"/>
                        </a:rPr>
                        <a:t> </a:t>
                      </a:r>
                      <a:endParaRPr lang="en-GB" sz="1100" b="1" dirty="0">
                        <a:latin typeface="+mn-lt"/>
                      </a:endParaRPr>
                    </a:p>
                  </a:txBody>
                  <a:tcPr marL="108000" marR="72000" marT="360000" marB="288000">
                    <a:lnL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 dirty="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GB" sz="1100" dirty="0">
                        <a:latin typeface="+mn-lt"/>
                      </a:endParaRPr>
                    </a:p>
                  </a:txBody>
                  <a:tcPr marL="108000" marR="72000" marT="288000" marB="216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6681244"/>
                  </a:ext>
                </a:extLst>
              </a:tr>
            </a:tbl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1798655" y="9024203"/>
            <a:ext cx="1410016" cy="196622"/>
            <a:chOff x="1981670" y="5994400"/>
            <a:chExt cx="1410016" cy="196622"/>
          </a:xfrm>
        </p:grpSpPr>
        <p:sp>
          <p:nvSpPr>
            <p:cNvPr id="5" name="TextBox 4"/>
            <p:cNvSpPr txBox="1"/>
            <p:nvPr/>
          </p:nvSpPr>
          <p:spPr>
            <a:xfrm>
              <a:off x="2333704" y="6021745"/>
              <a:ext cx="1057982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lv-LV" sz="1100" dirty="0"/>
                <a:t>Kritiskais punkts </a:t>
              </a:r>
              <a:endParaRPr lang="en-GB" sz="1100" dirty="0"/>
            </a:p>
          </p:txBody>
        </p:sp>
        <p:sp>
          <p:nvSpPr>
            <p:cNvPr id="6" name="Rectangle 5"/>
            <p:cNvSpPr/>
            <p:nvPr/>
          </p:nvSpPr>
          <p:spPr>
            <a:xfrm>
              <a:off x="1981670" y="5994400"/>
              <a:ext cx="286970" cy="177800"/>
            </a:xfrm>
            <a:prstGeom prst="rect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100"/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3856915" y="9024203"/>
            <a:ext cx="1532969" cy="196622"/>
            <a:chOff x="3467663" y="5994400"/>
            <a:chExt cx="1532969" cy="196622"/>
          </a:xfrm>
        </p:grpSpPr>
        <p:sp>
          <p:nvSpPr>
            <p:cNvPr id="8" name="TextBox 7"/>
            <p:cNvSpPr txBox="1"/>
            <p:nvPr/>
          </p:nvSpPr>
          <p:spPr>
            <a:xfrm>
              <a:off x="3825630" y="6021745"/>
              <a:ext cx="1175002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lv-LV" sz="1100" dirty="0"/>
                <a:t>Patīkama pieredze</a:t>
              </a:r>
              <a:endParaRPr lang="en-GB" sz="1100" dirty="0"/>
            </a:p>
          </p:txBody>
        </p:sp>
        <p:sp>
          <p:nvSpPr>
            <p:cNvPr id="9" name="Rectangle 8"/>
            <p:cNvSpPr/>
            <p:nvPr/>
          </p:nvSpPr>
          <p:spPr>
            <a:xfrm>
              <a:off x="3467663" y="5994400"/>
              <a:ext cx="286970" cy="1778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100"/>
            </a:p>
          </p:txBody>
        </p:sp>
      </p:grpSp>
      <p:grpSp>
        <p:nvGrpSpPr>
          <p:cNvPr id="10" name="Group 9"/>
          <p:cNvGrpSpPr/>
          <p:nvPr/>
        </p:nvGrpSpPr>
        <p:grpSpPr>
          <a:xfrm>
            <a:off x="6038127" y="9024203"/>
            <a:ext cx="922224" cy="196622"/>
            <a:chOff x="5072955" y="5994400"/>
            <a:chExt cx="922224" cy="196622"/>
          </a:xfrm>
        </p:grpSpPr>
        <p:sp>
          <p:nvSpPr>
            <p:cNvPr id="11" name="TextBox 10"/>
            <p:cNvSpPr txBox="1"/>
            <p:nvPr/>
          </p:nvSpPr>
          <p:spPr>
            <a:xfrm>
              <a:off x="5430922" y="6021745"/>
              <a:ext cx="564257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lv-LV" sz="1100" dirty="0"/>
                <a:t>Iespējas </a:t>
              </a:r>
              <a:endParaRPr lang="en-GB" sz="1100" dirty="0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5072955" y="5994400"/>
              <a:ext cx="286970" cy="1778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100"/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291327" y="1153661"/>
            <a:ext cx="1011495" cy="1692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600"/>
              </a:spcAft>
              <a:buSzPct val="100000"/>
            </a:pPr>
            <a:r>
              <a:rPr lang="lv-LV" sz="1100" dirty="0">
                <a:solidFill>
                  <a:schemeClr val="bg1"/>
                </a:solidFill>
              </a:rPr>
              <a:t>Personas profils</a:t>
            </a:r>
            <a:endParaRPr lang="en-GB" sz="1100" dirty="0">
              <a:solidFill>
                <a:schemeClr val="bg1"/>
              </a:solidFill>
            </a:endParaRPr>
          </a:p>
        </p:txBody>
      </p:sp>
      <p:grpSp>
        <p:nvGrpSpPr>
          <p:cNvPr id="15" name="Group 187"/>
          <p:cNvGrpSpPr>
            <a:grpSpLocks noChangeAspect="1"/>
          </p:cNvGrpSpPr>
          <p:nvPr/>
        </p:nvGrpSpPr>
        <p:grpSpPr bwMode="auto">
          <a:xfrm>
            <a:off x="385822" y="323817"/>
            <a:ext cx="767028" cy="766912"/>
            <a:chOff x="986" y="0"/>
            <a:chExt cx="6696" cy="6695"/>
          </a:xfrm>
          <a:solidFill>
            <a:schemeClr val="accent5"/>
          </a:solidFill>
        </p:grpSpPr>
        <p:sp>
          <p:nvSpPr>
            <p:cNvPr id="16" name="Freeform 188"/>
            <p:cNvSpPr>
              <a:spLocks noEditPoints="1"/>
            </p:cNvSpPr>
            <p:nvPr/>
          </p:nvSpPr>
          <p:spPr bwMode="auto">
            <a:xfrm>
              <a:off x="986" y="0"/>
              <a:ext cx="6696" cy="6695"/>
            </a:xfrm>
            <a:custGeom>
              <a:avLst/>
              <a:gdLst>
                <a:gd name="T0" fmla="*/ 1044 w 6696"/>
                <a:gd name="T1" fmla="*/ 6695 h 6695"/>
                <a:gd name="T2" fmla="*/ 1254 w 6696"/>
                <a:gd name="T3" fmla="*/ 5147 h 6695"/>
                <a:gd name="T4" fmla="*/ 1320 w 6696"/>
                <a:gd name="T5" fmla="*/ 5017 h 6695"/>
                <a:gd name="T6" fmla="*/ 1406 w 6696"/>
                <a:gd name="T7" fmla="*/ 4901 h 6695"/>
                <a:gd name="T8" fmla="*/ 1510 w 6696"/>
                <a:gd name="T9" fmla="*/ 4801 h 6695"/>
                <a:gd name="T10" fmla="*/ 1630 w 6696"/>
                <a:gd name="T11" fmla="*/ 4721 h 6695"/>
                <a:gd name="T12" fmla="*/ 1767 w 6696"/>
                <a:gd name="T13" fmla="*/ 4661 h 6695"/>
                <a:gd name="T14" fmla="*/ 2777 w 6696"/>
                <a:gd name="T15" fmla="*/ 4319 h 6695"/>
                <a:gd name="T16" fmla="*/ 2801 w 6696"/>
                <a:gd name="T17" fmla="*/ 4329 h 6695"/>
                <a:gd name="T18" fmla="*/ 2903 w 6696"/>
                <a:gd name="T19" fmla="*/ 4433 h 6695"/>
                <a:gd name="T20" fmla="*/ 2979 w 6696"/>
                <a:gd name="T21" fmla="*/ 4495 h 6695"/>
                <a:gd name="T22" fmla="*/ 3063 w 6696"/>
                <a:gd name="T23" fmla="*/ 4543 h 6695"/>
                <a:gd name="T24" fmla="*/ 3153 w 6696"/>
                <a:gd name="T25" fmla="*/ 4579 h 6695"/>
                <a:gd name="T26" fmla="*/ 3249 w 6696"/>
                <a:gd name="T27" fmla="*/ 4601 h 6695"/>
                <a:gd name="T28" fmla="*/ 3347 w 6696"/>
                <a:gd name="T29" fmla="*/ 4607 h 6695"/>
                <a:gd name="T30" fmla="*/ 3413 w 6696"/>
                <a:gd name="T31" fmla="*/ 4605 h 6695"/>
                <a:gd name="T32" fmla="*/ 3509 w 6696"/>
                <a:gd name="T33" fmla="*/ 4587 h 6695"/>
                <a:gd name="T34" fmla="*/ 3601 w 6696"/>
                <a:gd name="T35" fmla="*/ 4557 h 6695"/>
                <a:gd name="T36" fmla="*/ 3687 w 6696"/>
                <a:gd name="T37" fmla="*/ 4513 h 6695"/>
                <a:gd name="T38" fmla="*/ 3767 w 6696"/>
                <a:gd name="T39" fmla="*/ 4455 h 6695"/>
                <a:gd name="T40" fmla="*/ 3893 w 6696"/>
                <a:gd name="T41" fmla="*/ 4329 h 6695"/>
                <a:gd name="T42" fmla="*/ 3909 w 6696"/>
                <a:gd name="T43" fmla="*/ 4321 h 6695"/>
                <a:gd name="T44" fmla="*/ 4929 w 6696"/>
                <a:gd name="T45" fmla="*/ 4661 h 6695"/>
                <a:gd name="T46" fmla="*/ 5019 w 6696"/>
                <a:gd name="T47" fmla="*/ 4699 h 6695"/>
                <a:gd name="T48" fmla="*/ 5146 w 6696"/>
                <a:gd name="T49" fmla="*/ 4773 h 6695"/>
                <a:gd name="T50" fmla="*/ 5256 w 6696"/>
                <a:gd name="T51" fmla="*/ 4865 h 6695"/>
                <a:gd name="T52" fmla="*/ 5350 w 6696"/>
                <a:gd name="T53" fmla="*/ 4977 h 6695"/>
                <a:gd name="T54" fmla="*/ 5422 w 6696"/>
                <a:gd name="T55" fmla="*/ 5103 h 6695"/>
                <a:gd name="T56" fmla="*/ 5650 w 6696"/>
                <a:gd name="T57" fmla="*/ 6695 h 6695"/>
                <a:gd name="T58" fmla="*/ 0 w 6696"/>
                <a:gd name="T59" fmla="*/ 0 h 6695"/>
                <a:gd name="T60" fmla="*/ 5740 w 6696"/>
                <a:gd name="T61" fmla="*/ 5145 h 6695"/>
                <a:gd name="T62" fmla="*/ 5712 w 6696"/>
                <a:gd name="T63" fmla="*/ 5057 h 6695"/>
                <a:gd name="T64" fmla="*/ 5626 w 6696"/>
                <a:gd name="T65" fmla="*/ 4879 h 6695"/>
                <a:gd name="T66" fmla="*/ 5510 w 6696"/>
                <a:gd name="T67" fmla="*/ 4719 h 6695"/>
                <a:gd name="T68" fmla="*/ 5368 w 6696"/>
                <a:gd name="T69" fmla="*/ 4583 h 6695"/>
                <a:gd name="T70" fmla="*/ 5204 w 6696"/>
                <a:gd name="T71" fmla="*/ 4471 h 6695"/>
                <a:gd name="T72" fmla="*/ 5021 w 6696"/>
                <a:gd name="T73" fmla="*/ 4391 h 6695"/>
                <a:gd name="T74" fmla="*/ 3997 w 6696"/>
                <a:gd name="T75" fmla="*/ 4045 h 6695"/>
                <a:gd name="T76" fmla="*/ 3931 w 6696"/>
                <a:gd name="T77" fmla="*/ 4035 h 6695"/>
                <a:gd name="T78" fmla="*/ 3865 w 6696"/>
                <a:gd name="T79" fmla="*/ 4039 h 6695"/>
                <a:gd name="T80" fmla="*/ 3801 w 6696"/>
                <a:gd name="T81" fmla="*/ 4057 h 6695"/>
                <a:gd name="T82" fmla="*/ 3741 w 6696"/>
                <a:gd name="T83" fmla="*/ 4087 h 6695"/>
                <a:gd name="T84" fmla="*/ 3689 w 6696"/>
                <a:gd name="T85" fmla="*/ 4131 h 6695"/>
                <a:gd name="T86" fmla="*/ 3583 w 6696"/>
                <a:gd name="T87" fmla="*/ 4237 h 6695"/>
                <a:gd name="T88" fmla="*/ 3491 w 6696"/>
                <a:gd name="T89" fmla="*/ 4293 h 6695"/>
                <a:gd name="T90" fmla="*/ 3385 w 6696"/>
                <a:gd name="T91" fmla="*/ 4321 h 6695"/>
                <a:gd name="T92" fmla="*/ 3311 w 6696"/>
                <a:gd name="T93" fmla="*/ 4321 h 6695"/>
                <a:gd name="T94" fmla="*/ 3205 w 6696"/>
                <a:gd name="T95" fmla="*/ 4293 h 6695"/>
                <a:gd name="T96" fmla="*/ 3111 w 6696"/>
                <a:gd name="T97" fmla="*/ 4237 h 6695"/>
                <a:gd name="T98" fmla="*/ 3005 w 6696"/>
                <a:gd name="T99" fmla="*/ 4131 h 6695"/>
                <a:gd name="T100" fmla="*/ 2953 w 6696"/>
                <a:gd name="T101" fmla="*/ 4087 h 6695"/>
                <a:gd name="T102" fmla="*/ 2895 w 6696"/>
                <a:gd name="T103" fmla="*/ 4057 h 6695"/>
                <a:gd name="T104" fmla="*/ 2831 w 6696"/>
                <a:gd name="T105" fmla="*/ 4039 h 6695"/>
                <a:gd name="T106" fmla="*/ 2763 w 6696"/>
                <a:gd name="T107" fmla="*/ 4035 h 6695"/>
                <a:gd name="T108" fmla="*/ 2697 w 6696"/>
                <a:gd name="T109" fmla="*/ 4045 h 6695"/>
                <a:gd name="T110" fmla="*/ 1675 w 6696"/>
                <a:gd name="T111" fmla="*/ 4391 h 6695"/>
                <a:gd name="T112" fmla="*/ 1490 w 6696"/>
                <a:gd name="T113" fmla="*/ 4471 h 6695"/>
                <a:gd name="T114" fmla="*/ 1328 w 6696"/>
                <a:gd name="T115" fmla="*/ 4583 h 6695"/>
                <a:gd name="T116" fmla="*/ 1186 w 6696"/>
                <a:gd name="T117" fmla="*/ 4719 h 6695"/>
                <a:gd name="T118" fmla="*/ 1070 w 6696"/>
                <a:gd name="T119" fmla="*/ 4879 h 6695"/>
                <a:gd name="T120" fmla="*/ 982 w 6696"/>
                <a:gd name="T121" fmla="*/ 5057 h 6695"/>
                <a:gd name="T122" fmla="*/ 284 w 6696"/>
                <a:gd name="T123" fmla="*/ 6411 h 6695"/>
                <a:gd name="T124" fmla="*/ 6410 w 6696"/>
                <a:gd name="T125" fmla="*/ 6411 h 6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696" h="6695">
                  <a:moveTo>
                    <a:pt x="0" y="0"/>
                  </a:moveTo>
                  <a:lnTo>
                    <a:pt x="0" y="6695"/>
                  </a:lnTo>
                  <a:lnTo>
                    <a:pt x="1044" y="6695"/>
                  </a:lnTo>
                  <a:lnTo>
                    <a:pt x="1236" y="5193"/>
                  </a:lnTo>
                  <a:lnTo>
                    <a:pt x="1236" y="5193"/>
                  </a:lnTo>
                  <a:lnTo>
                    <a:pt x="1254" y="5147"/>
                  </a:lnTo>
                  <a:lnTo>
                    <a:pt x="1272" y="5103"/>
                  </a:lnTo>
                  <a:lnTo>
                    <a:pt x="1294" y="5059"/>
                  </a:lnTo>
                  <a:lnTo>
                    <a:pt x="1320" y="5017"/>
                  </a:lnTo>
                  <a:lnTo>
                    <a:pt x="1346" y="4977"/>
                  </a:lnTo>
                  <a:lnTo>
                    <a:pt x="1374" y="4939"/>
                  </a:lnTo>
                  <a:lnTo>
                    <a:pt x="1406" y="4901"/>
                  </a:lnTo>
                  <a:lnTo>
                    <a:pt x="1438" y="4865"/>
                  </a:lnTo>
                  <a:lnTo>
                    <a:pt x="1474" y="4833"/>
                  </a:lnTo>
                  <a:lnTo>
                    <a:pt x="1510" y="4801"/>
                  </a:lnTo>
                  <a:lnTo>
                    <a:pt x="1548" y="4773"/>
                  </a:lnTo>
                  <a:lnTo>
                    <a:pt x="1588" y="4745"/>
                  </a:lnTo>
                  <a:lnTo>
                    <a:pt x="1630" y="4721"/>
                  </a:lnTo>
                  <a:lnTo>
                    <a:pt x="1675" y="4699"/>
                  </a:lnTo>
                  <a:lnTo>
                    <a:pt x="1719" y="4679"/>
                  </a:lnTo>
                  <a:lnTo>
                    <a:pt x="1767" y="4661"/>
                  </a:lnTo>
                  <a:lnTo>
                    <a:pt x="2767" y="4321"/>
                  </a:lnTo>
                  <a:lnTo>
                    <a:pt x="2767" y="4321"/>
                  </a:lnTo>
                  <a:lnTo>
                    <a:pt x="2777" y="4319"/>
                  </a:lnTo>
                  <a:lnTo>
                    <a:pt x="2785" y="4321"/>
                  </a:lnTo>
                  <a:lnTo>
                    <a:pt x="2793" y="4323"/>
                  </a:lnTo>
                  <a:lnTo>
                    <a:pt x="2801" y="4329"/>
                  </a:lnTo>
                  <a:lnTo>
                    <a:pt x="2879" y="4409"/>
                  </a:lnTo>
                  <a:lnTo>
                    <a:pt x="2879" y="4409"/>
                  </a:lnTo>
                  <a:lnTo>
                    <a:pt x="2903" y="4433"/>
                  </a:lnTo>
                  <a:lnTo>
                    <a:pt x="2927" y="4455"/>
                  </a:lnTo>
                  <a:lnTo>
                    <a:pt x="2953" y="4475"/>
                  </a:lnTo>
                  <a:lnTo>
                    <a:pt x="2979" y="4495"/>
                  </a:lnTo>
                  <a:lnTo>
                    <a:pt x="3007" y="4513"/>
                  </a:lnTo>
                  <a:lnTo>
                    <a:pt x="3035" y="4529"/>
                  </a:lnTo>
                  <a:lnTo>
                    <a:pt x="3063" y="4543"/>
                  </a:lnTo>
                  <a:lnTo>
                    <a:pt x="3093" y="4557"/>
                  </a:lnTo>
                  <a:lnTo>
                    <a:pt x="3123" y="4569"/>
                  </a:lnTo>
                  <a:lnTo>
                    <a:pt x="3153" y="4579"/>
                  </a:lnTo>
                  <a:lnTo>
                    <a:pt x="3185" y="4587"/>
                  </a:lnTo>
                  <a:lnTo>
                    <a:pt x="3217" y="4595"/>
                  </a:lnTo>
                  <a:lnTo>
                    <a:pt x="3249" y="4601"/>
                  </a:lnTo>
                  <a:lnTo>
                    <a:pt x="3281" y="4605"/>
                  </a:lnTo>
                  <a:lnTo>
                    <a:pt x="3315" y="4607"/>
                  </a:lnTo>
                  <a:lnTo>
                    <a:pt x="3347" y="4607"/>
                  </a:lnTo>
                  <a:lnTo>
                    <a:pt x="3347" y="4607"/>
                  </a:lnTo>
                  <a:lnTo>
                    <a:pt x="3381" y="4607"/>
                  </a:lnTo>
                  <a:lnTo>
                    <a:pt x="3413" y="4605"/>
                  </a:lnTo>
                  <a:lnTo>
                    <a:pt x="3447" y="4601"/>
                  </a:lnTo>
                  <a:lnTo>
                    <a:pt x="3479" y="4595"/>
                  </a:lnTo>
                  <a:lnTo>
                    <a:pt x="3509" y="4587"/>
                  </a:lnTo>
                  <a:lnTo>
                    <a:pt x="3541" y="4579"/>
                  </a:lnTo>
                  <a:lnTo>
                    <a:pt x="3571" y="4569"/>
                  </a:lnTo>
                  <a:lnTo>
                    <a:pt x="3601" y="4557"/>
                  </a:lnTo>
                  <a:lnTo>
                    <a:pt x="3631" y="4543"/>
                  </a:lnTo>
                  <a:lnTo>
                    <a:pt x="3659" y="4529"/>
                  </a:lnTo>
                  <a:lnTo>
                    <a:pt x="3687" y="4513"/>
                  </a:lnTo>
                  <a:lnTo>
                    <a:pt x="3715" y="4495"/>
                  </a:lnTo>
                  <a:lnTo>
                    <a:pt x="3741" y="4475"/>
                  </a:lnTo>
                  <a:lnTo>
                    <a:pt x="3767" y="4455"/>
                  </a:lnTo>
                  <a:lnTo>
                    <a:pt x="3791" y="4433"/>
                  </a:lnTo>
                  <a:lnTo>
                    <a:pt x="3815" y="4409"/>
                  </a:lnTo>
                  <a:lnTo>
                    <a:pt x="3893" y="4329"/>
                  </a:lnTo>
                  <a:lnTo>
                    <a:pt x="3893" y="4329"/>
                  </a:lnTo>
                  <a:lnTo>
                    <a:pt x="3901" y="4323"/>
                  </a:lnTo>
                  <a:lnTo>
                    <a:pt x="3909" y="4321"/>
                  </a:lnTo>
                  <a:lnTo>
                    <a:pt x="3919" y="4319"/>
                  </a:lnTo>
                  <a:lnTo>
                    <a:pt x="3927" y="4321"/>
                  </a:lnTo>
                  <a:lnTo>
                    <a:pt x="4929" y="4661"/>
                  </a:lnTo>
                  <a:lnTo>
                    <a:pt x="4929" y="4661"/>
                  </a:lnTo>
                  <a:lnTo>
                    <a:pt x="4975" y="4679"/>
                  </a:lnTo>
                  <a:lnTo>
                    <a:pt x="5019" y="4699"/>
                  </a:lnTo>
                  <a:lnTo>
                    <a:pt x="5064" y="4721"/>
                  </a:lnTo>
                  <a:lnTo>
                    <a:pt x="5106" y="4745"/>
                  </a:lnTo>
                  <a:lnTo>
                    <a:pt x="5146" y="4773"/>
                  </a:lnTo>
                  <a:lnTo>
                    <a:pt x="5184" y="4801"/>
                  </a:lnTo>
                  <a:lnTo>
                    <a:pt x="5222" y="4833"/>
                  </a:lnTo>
                  <a:lnTo>
                    <a:pt x="5256" y="4865"/>
                  </a:lnTo>
                  <a:lnTo>
                    <a:pt x="5290" y="4901"/>
                  </a:lnTo>
                  <a:lnTo>
                    <a:pt x="5320" y="4939"/>
                  </a:lnTo>
                  <a:lnTo>
                    <a:pt x="5350" y="4977"/>
                  </a:lnTo>
                  <a:lnTo>
                    <a:pt x="5376" y="5017"/>
                  </a:lnTo>
                  <a:lnTo>
                    <a:pt x="5400" y="5059"/>
                  </a:lnTo>
                  <a:lnTo>
                    <a:pt x="5422" y="5103"/>
                  </a:lnTo>
                  <a:lnTo>
                    <a:pt x="5442" y="5147"/>
                  </a:lnTo>
                  <a:lnTo>
                    <a:pt x="5458" y="5193"/>
                  </a:lnTo>
                  <a:lnTo>
                    <a:pt x="5650" y="6695"/>
                  </a:lnTo>
                  <a:lnTo>
                    <a:pt x="6696" y="6695"/>
                  </a:lnTo>
                  <a:lnTo>
                    <a:pt x="6696" y="0"/>
                  </a:lnTo>
                  <a:lnTo>
                    <a:pt x="0" y="0"/>
                  </a:lnTo>
                  <a:close/>
                  <a:moveTo>
                    <a:pt x="6410" y="6411"/>
                  </a:moveTo>
                  <a:lnTo>
                    <a:pt x="5902" y="6411"/>
                  </a:lnTo>
                  <a:lnTo>
                    <a:pt x="5740" y="5145"/>
                  </a:lnTo>
                  <a:lnTo>
                    <a:pt x="5734" y="5121"/>
                  </a:lnTo>
                  <a:lnTo>
                    <a:pt x="5734" y="5121"/>
                  </a:lnTo>
                  <a:lnTo>
                    <a:pt x="5712" y="5057"/>
                  </a:lnTo>
                  <a:lnTo>
                    <a:pt x="5686" y="4995"/>
                  </a:lnTo>
                  <a:lnTo>
                    <a:pt x="5658" y="4935"/>
                  </a:lnTo>
                  <a:lnTo>
                    <a:pt x="5626" y="4879"/>
                  </a:lnTo>
                  <a:lnTo>
                    <a:pt x="5590" y="4823"/>
                  </a:lnTo>
                  <a:lnTo>
                    <a:pt x="5552" y="4769"/>
                  </a:lnTo>
                  <a:lnTo>
                    <a:pt x="5510" y="4719"/>
                  </a:lnTo>
                  <a:lnTo>
                    <a:pt x="5464" y="4671"/>
                  </a:lnTo>
                  <a:lnTo>
                    <a:pt x="5418" y="4625"/>
                  </a:lnTo>
                  <a:lnTo>
                    <a:pt x="5368" y="4583"/>
                  </a:lnTo>
                  <a:lnTo>
                    <a:pt x="5316" y="4543"/>
                  </a:lnTo>
                  <a:lnTo>
                    <a:pt x="5260" y="4505"/>
                  </a:lnTo>
                  <a:lnTo>
                    <a:pt x="5204" y="4471"/>
                  </a:lnTo>
                  <a:lnTo>
                    <a:pt x="5146" y="4441"/>
                  </a:lnTo>
                  <a:lnTo>
                    <a:pt x="5084" y="4415"/>
                  </a:lnTo>
                  <a:lnTo>
                    <a:pt x="5021" y="4391"/>
                  </a:lnTo>
                  <a:lnTo>
                    <a:pt x="4019" y="4051"/>
                  </a:lnTo>
                  <a:lnTo>
                    <a:pt x="4019" y="4051"/>
                  </a:lnTo>
                  <a:lnTo>
                    <a:pt x="3997" y="4045"/>
                  </a:lnTo>
                  <a:lnTo>
                    <a:pt x="3975" y="4039"/>
                  </a:lnTo>
                  <a:lnTo>
                    <a:pt x="3953" y="4037"/>
                  </a:lnTo>
                  <a:lnTo>
                    <a:pt x="3931" y="4035"/>
                  </a:lnTo>
                  <a:lnTo>
                    <a:pt x="3909" y="4035"/>
                  </a:lnTo>
                  <a:lnTo>
                    <a:pt x="3887" y="4035"/>
                  </a:lnTo>
                  <a:lnTo>
                    <a:pt x="3865" y="4039"/>
                  </a:lnTo>
                  <a:lnTo>
                    <a:pt x="3843" y="4043"/>
                  </a:lnTo>
                  <a:lnTo>
                    <a:pt x="3821" y="4049"/>
                  </a:lnTo>
                  <a:lnTo>
                    <a:pt x="3801" y="4057"/>
                  </a:lnTo>
                  <a:lnTo>
                    <a:pt x="3781" y="4065"/>
                  </a:lnTo>
                  <a:lnTo>
                    <a:pt x="3761" y="4075"/>
                  </a:lnTo>
                  <a:lnTo>
                    <a:pt x="3741" y="4087"/>
                  </a:lnTo>
                  <a:lnTo>
                    <a:pt x="3723" y="4101"/>
                  </a:lnTo>
                  <a:lnTo>
                    <a:pt x="3705" y="4115"/>
                  </a:lnTo>
                  <a:lnTo>
                    <a:pt x="3689" y="4131"/>
                  </a:lnTo>
                  <a:lnTo>
                    <a:pt x="3611" y="4211"/>
                  </a:lnTo>
                  <a:lnTo>
                    <a:pt x="3611" y="4211"/>
                  </a:lnTo>
                  <a:lnTo>
                    <a:pt x="3583" y="4237"/>
                  </a:lnTo>
                  <a:lnTo>
                    <a:pt x="3555" y="4259"/>
                  </a:lnTo>
                  <a:lnTo>
                    <a:pt x="3523" y="4277"/>
                  </a:lnTo>
                  <a:lnTo>
                    <a:pt x="3491" y="4293"/>
                  </a:lnTo>
                  <a:lnTo>
                    <a:pt x="3457" y="4305"/>
                  </a:lnTo>
                  <a:lnTo>
                    <a:pt x="3421" y="4315"/>
                  </a:lnTo>
                  <a:lnTo>
                    <a:pt x="3385" y="4321"/>
                  </a:lnTo>
                  <a:lnTo>
                    <a:pt x="3347" y="4323"/>
                  </a:lnTo>
                  <a:lnTo>
                    <a:pt x="3347" y="4323"/>
                  </a:lnTo>
                  <a:lnTo>
                    <a:pt x="3311" y="4321"/>
                  </a:lnTo>
                  <a:lnTo>
                    <a:pt x="3273" y="4315"/>
                  </a:lnTo>
                  <a:lnTo>
                    <a:pt x="3239" y="4305"/>
                  </a:lnTo>
                  <a:lnTo>
                    <a:pt x="3205" y="4293"/>
                  </a:lnTo>
                  <a:lnTo>
                    <a:pt x="3171" y="4277"/>
                  </a:lnTo>
                  <a:lnTo>
                    <a:pt x="3141" y="4259"/>
                  </a:lnTo>
                  <a:lnTo>
                    <a:pt x="3111" y="4237"/>
                  </a:lnTo>
                  <a:lnTo>
                    <a:pt x="3083" y="4211"/>
                  </a:lnTo>
                  <a:lnTo>
                    <a:pt x="3005" y="4131"/>
                  </a:lnTo>
                  <a:lnTo>
                    <a:pt x="3005" y="4131"/>
                  </a:lnTo>
                  <a:lnTo>
                    <a:pt x="2989" y="4115"/>
                  </a:lnTo>
                  <a:lnTo>
                    <a:pt x="2971" y="4101"/>
                  </a:lnTo>
                  <a:lnTo>
                    <a:pt x="2953" y="4087"/>
                  </a:lnTo>
                  <a:lnTo>
                    <a:pt x="2935" y="4075"/>
                  </a:lnTo>
                  <a:lnTo>
                    <a:pt x="2915" y="4065"/>
                  </a:lnTo>
                  <a:lnTo>
                    <a:pt x="2895" y="4057"/>
                  </a:lnTo>
                  <a:lnTo>
                    <a:pt x="2873" y="4049"/>
                  </a:lnTo>
                  <a:lnTo>
                    <a:pt x="2853" y="4043"/>
                  </a:lnTo>
                  <a:lnTo>
                    <a:pt x="2831" y="4039"/>
                  </a:lnTo>
                  <a:lnTo>
                    <a:pt x="2809" y="4035"/>
                  </a:lnTo>
                  <a:lnTo>
                    <a:pt x="2787" y="4035"/>
                  </a:lnTo>
                  <a:lnTo>
                    <a:pt x="2763" y="4035"/>
                  </a:lnTo>
                  <a:lnTo>
                    <a:pt x="2741" y="4037"/>
                  </a:lnTo>
                  <a:lnTo>
                    <a:pt x="2719" y="4039"/>
                  </a:lnTo>
                  <a:lnTo>
                    <a:pt x="2697" y="4045"/>
                  </a:lnTo>
                  <a:lnTo>
                    <a:pt x="2675" y="4051"/>
                  </a:lnTo>
                  <a:lnTo>
                    <a:pt x="1675" y="4391"/>
                  </a:lnTo>
                  <a:lnTo>
                    <a:pt x="1675" y="4391"/>
                  </a:lnTo>
                  <a:lnTo>
                    <a:pt x="1610" y="4415"/>
                  </a:lnTo>
                  <a:lnTo>
                    <a:pt x="1550" y="4441"/>
                  </a:lnTo>
                  <a:lnTo>
                    <a:pt x="1490" y="4471"/>
                  </a:lnTo>
                  <a:lnTo>
                    <a:pt x="1434" y="4505"/>
                  </a:lnTo>
                  <a:lnTo>
                    <a:pt x="1380" y="4543"/>
                  </a:lnTo>
                  <a:lnTo>
                    <a:pt x="1328" y="4583"/>
                  </a:lnTo>
                  <a:lnTo>
                    <a:pt x="1278" y="4625"/>
                  </a:lnTo>
                  <a:lnTo>
                    <a:pt x="1230" y="4671"/>
                  </a:lnTo>
                  <a:lnTo>
                    <a:pt x="1186" y="4719"/>
                  </a:lnTo>
                  <a:lnTo>
                    <a:pt x="1144" y="4769"/>
                  </a:lnTo>
                  <a:lnTo>
                    <a:pt x="1106" y="4823"/>
                  </a:lnTo>
                  <a:lnTo>
                    <a:pt x="1070" y="4879"/>
                  </a:lnTo>
                  <a:lnTo>
                    <a:pt x="1038" y="4935"/>
                  </a:lnTo>
                  <a:lnTo>
                    <a:pt x="1008" y="4995"/>
                  </a:lnTo>
                  <a:lnTo>
                    <a:pt x="982" y="5057"/>
                  </a:lnTo>
                  <a:lnTo>
                    <a:pt x="960" y="5121"/>
                  </a:lnTo>
                  <a:lnTo>
                    <a:pt x="794" y="6411"/>
                  </a:lnTo>
                  <a:lnTo>
                    <a:pt x="284" y="6411"/>
                  </a:lnTo>
                  <a:lnTo>
                    <a:pt x="284" y="286"/>
                  </a:lnTo>
                  <a:lnTo>
                    <a:pt x="6410" y="286"/>
                  </a:lnTo>
                  <a:lnTo>
                    <a:pt x="6410" y="641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  <p:sp>
          <p:nvSpPr>
            <p:cNvPr id="17" name="Freeform 189"/>
            <p:cNvSpPr>
              <a:spLocks noEditPoints="1"/>
            </p:cNvSpPr>
            <p:nvPr/>
          </p:nvSpPr>
          <p:spPr bwMode="auto">
            <a:xfrm>
              <a:off x="3429" y="1416"/>
              <a:ext cx="1810" cy="2483"/>
            </a:xfrm>
            <a:custGeom>
              <a:avLst/>
              <a:gdLst>
                <a:gd name="T0" fmla="*/ 1050 w 1810"/>
                <a:gd name="T1" fmla="*/ 2467 h 2483"/>
                <a:gd name="T2" fmla="*/ 1248 w 1810"/>
                <a:gd name="T3" fmla="*/ 2383 h 2483"/>
                <a:gd name="T4" fmla="*/ 1414 w 1810"/>
                <a:gd name="T5" fmla="*/ 2245 h 2483"/>
                <a:gd name="T6" fmla="*/ 1578 w 1810"/>
                <a:gd name="T7" fmla="*/ 2055 h 2483"/>
                <a:gd name="T8" fmla="*/ 1714 w 1810"/>
                <a:gd name="T9" fmla="*/ 1758 h 2483"/>
                <a:gd name="T10" fmla="*/ 1790 w 1810"/>
                <a:gd name="T11" fmla="*/ 1370 h 2483"/>
                <a:gd name="T12" fmla="*/ 1810 w 1810"/>
                <a:gd name="T13" fmla="*/ 996 h 2483"/>
                <a:gd name="T14" fmla="*/ 1780 w 1810"/>
                <a:gd name="T15" fmla="*/ 748 h 2483"/>
                <a:gd name="T16" fmla="*/ 1700 w 1810"/>
                <a:gd name="T17" fmla="*/ 522 h 2483"/>
                <a:gd name="T18" fmla="*/ 1574 w 1810"/>
                <a:gd name="T19" fmla="*/ 328 h 2483"/>
                <a:gd name="T20" fmla="*/ 1410 w 1810"/>
                <a:gd name="T21" fmla="*/ 170 h 2483"/>
                <a:gd name="T22" fmla="*/ 1216 w 1810"/>
                <a:gd name="T23" fmla="*/ 62 h 2483"/>
                <a:gd name="T24" fmla="*/ 996 w 1810"/>
                <a:gd name="T25" fmla="*/ 6 h 2483"/>
                <a:gd name="T26" fmla="*/ 812 w 1810"/>
                <a:gd name="T27" fmla="*/ 6 h 2483"/>
                <a:gd name="T28" fmla="*/ 594 w 1810"/>
                <a:gd name="T29" fmla="*/ 62 h 2483"/>
                <a:gd name="T30" fmla="*/ 400 w 1810"/>
                <a:gd name="T31" fmla="*/ 170 h 2483"/>
                <a:gd name="T32" fmla="*/ 236 w 1810"/>
                <a:gd name="T33" fmla="*/ 328 h 2483"/>
                <a:gd name="T34" fmla="*/ 110 w 1810"/>
                <a:gd name="T35" fmla="*/ 522 h 2483"/>
                <a:gd name="T36" fmla="*/ 28 w 1810"/>
                <a:gd name="T37" fmla="*/ 748 h 2483"/>
                <a:gd name="T38" fmla="*/ 0 w 1810"/>
                <a:gd name="T39" fmla="*/ 996 h 2483"/>
                <a:gd name="T40" fmla="*/ 18 w 1810"/>
                <a:gd name="T41" fmla="*/ 1370 h 2483"/>
                <a:gd name="T42" fmla="*/ 96 w 1810"/>
                <a:gd name="T43" fmla="*/ 1758 h 2483"/>
                <a:gd name="T44" fmla="*/ 232 w 1810"/>
                <a:gd name="T45" fmla="*/ 2055 h 2483"/>
                <a:gd name="T46" fmla="*/ 396 w 1810"/>
                <a:gd name="T47" fmla="*/ 2245 h 2483"/>
                <a:gd name="T48" fmla="*/ 560 w 1810"/>
                <a:gd name="T49" fmla="*/ 2383 h 2483"/>
                <a:gd name="T50" fmla="*/ 760 w 1810"/>
                <a:gd name="T51" fmla="*/ 2467 h 2483"/>
                <a:gd name="T52" fmla="*/ 904 w 1810"/>
                <a:gd name="T53" fmla="*/ 286 h 2483"/>
                <a:gd name="T54" fmla="*/ 1030 w 1810"/>
                <a:gd name="T55" fmla="*/ 300 h 2483"/>
                <a:gd name="T56" fmla="*/ 1172 w 1810"/>
                <a:gd name="T57" fmla="*/ 356 h 2483"/>
                <a:gd name="T58" fmla="*/ 1298 w 1810"/>
                <a:gd name="T59" fmla="*/ 448 h 2483"/>
                <a:gd name="T60" fmla="*/ 1400 w 1810"/>
                <a:gd name="T61" fmla="*/ 572 h 2483"/>
                <a:gd name="T62" fmla="*/ 1474 w 1810"/>
                <a:gd name="T63" fmla="*/ 720 h 2483"/>
                <a:gd name="T64" fmla="*/ 1516 w 1810"/>
                <a:gd name="T65" fmla="*/ 888 h 2483"/>
                <a:gd name="T66" fmla="*/ 1522 w 1810"/>
                <a:gd name="T67" fmla="*/ 1080 h 2483"/>
                <a:gd name="T68" fmla="*/ 1490 w 1810"/>
                <a:gd name="T69" fmla="*/ 1454 h 2483"/>
                <a:gd name="T70" fmla="*/ 1412 w 1810"/>
                <a:gd name="T71" fmla="*/ 1750 h 2483"/>
                <a:gd name="T72" fmla="*/ 1294 w 1810"/>
                <a:gd name="T73" fmla="*/ 1955 h 2483"/>
                <a:gd name="T74" fmla="*/ 1132 w 1810"/>
                <a:gd name="T75" fmla="*/ 2115 h 2483"/>
                <a:gd name="T76" fmla="*/ 1020 w 1810"/>
                <a:gd name="T77" fmla="*/ 2179 h 2483"/>
                <a:gd name="T78" fmla="*/ 904 w 1810"/>
                <a:gd name="T79" fmla="*/ 2197 h 2483"/>
                <a:gd name="T80" fmla="*/ 810 w 1810"/>
                <a:gd name="T81" fmla="*/ 2187 h 2483"/>
                <a:gd name="T82" fmla="*/ 700 w 1810"/>
                <a:gd name="T83" fmla="*/ 2133 h 2483"/>
                <a:gd name="T84" fmla="*/ 516 w 1810"/>
                <a:gd name="T85" fmla="*/ 1955 h 2483"/>
                <a:gd name="T86" fmla="*/ 416 w 1810"/>
                <a:gd name="T87" fmla="*/ 1798 h 2483"/>
                <a:gd name="T88" fmla="*/ 330 w 1810"/>
                <a:gd name="T89" fmla="*/ 1520 h 2483"/>
                <a:gd name="T90" fmla="*/ 290 w 1810"/>
                <a:gd name="T91" fmla="*/ 1160 h 2483"/>
                <a:gd name="T92" fmla="*/ 288 w 1810"/>
                <a:gd name="T93" fmla="*/ 924 h 2483"/>
                <a:gd name="T94" fmla="*/ 322 w 1810"/>
                <a:gd name="T95" fmla="*/ 752 h 2483"/>
                <a:gd name="T96" fmla="*/ 392 w 1810"/>
                <a:gd name="T97" fmla="*/ 600 h 2483"/>
                <a:gd name="T98" fmla="*/ 488 w 1810"/>
                <a:gd name="T99" fmla="*/ 470 h 2483"/>
                <a:gd name="T100" fmla="*/ 610 w 1810"/>
                <a:gd name="T101" fmla="*/ 372 h 2483"/>
                <a:gd name="T102" fmla="*/ 750 w 1810"/>
                <a:gd name="T103" fmla="*/ 308 h 2483"/>
                <a:gd name="T104" fmla="*/ 904 w 1810"/>
                <a:gd name="T105" fmla="*/ 286 h 24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810" h="2483">
                  <a:moveTo>
                    <a:pt x="904" y="2483"/>
                  </a:moveTo>
                  <a:lnTo>
                    <a:pt x="904" y="2483"/>
                  </a:lnTo>
                  <a:lnTo>
                    <a:pt x="956" y="2481"/>
                  </a:lnTo>
                  <a:lnTo>
                    <a:pt x="1004" y="2477"/>
                  </a:lnTo>
                  <a:lnTo>
                    <a:pt x="1050" y="2467"/>
                  </a:lnTo>
                  <a:lnTo>
                    <a:pt x="1092" y="2457"/>
                  </a:lnTo>
                  <a:lnTo>
                    <a:pt x="1134" y="2443"/>
                  </a:lnTo>
                  <a:lnTo>
                    <a:pt x="1174" y="2425"/>
                  </a:lnTo>
                  <a:lnTo>
                    <a:pt x="1212" y="2405"/>
                  </a:lnTo>
                  <a:lnTo>
                    <a:pt x="1248" y="2383"/>
                  </a:lnTo>
                  <a:lnTo>
                    <a:pt x="1284" y="2359"/>
                  </a:lnTo>
                  <a:lnTo>
                    <a:pt x="1318" y="2333"/>
                  </a:lnTo>
                  <a:lnTo>
                    <a:pt x="1350" y="2305"/>
                  </a:lnTo>
                  <a:lnTo>
                    <a:pt x="1382" y="2277"/>
                  </a:lnTo>
                  <a:lnTo>
                    <a:pt x="1414" y="2245"/>
                  </a:lnTo>
                  <a:lnTo>
                    <a:pt x="1446" y="2213"/>
                  </a:lnTo>
                  <a:lnTo>
                    <a:pt x="1506" y="2145"/>
                  </a:lnTo>
                  <a:lnTo>
                    <a:pt x="1506" y="2145"/>
                  </a:lnTo>
                  <a:lnTo>
                    <a:pt x="1544" y="2101"/>
                  </a:lnTo>
                  <a:lnTo>
                    <a:pt x="1578" y="2055"/>
                  </a:lnTo>
                  <a:lnTo>
                    <a:pt x="1610" y="2003"/>
                  </a:lnTo>
                  <a:lnTo>
                    <a:pt x="1638" y="1947"/>
                  </a:lnTo>
                  <a:lnTo>
                    <a:pt x="1666" y="1888"/>
                  </a:lnTo>
                  <a:lnTo>
                    <a:pt x="1690" y="1824"/>
                  </a:lnTo>
                  <a:lnTo>
                    <a:pt x="1714" y="1758"/>
                  </a:lnTo>
                  <a:lnTo>
                    <a:pt x="1734" y="1688"/>
                  </a:lnTo>
                  <a:lnTo>
                    <a:pt x="1750" y="1614"/>
                  </a:lnTo>
                  <a:lnTo>
                    <a:pt x="1766" y="1536"/>
                  </a:lnTo>
                  <a:lnTo>
                    <a:pt x="1780" y="1456"/>
                  </a:lnTo>
                  <a:lnTo>
                    <a:pt x="1790" y="1370"/>
                  </a:lnTo>
                  <a:lnTo>
                    <a:pt x="1798" y="1282"/>
                  </a:lnTo>
                  <a:lnTo>
                    <a:pt x="1804" y="1190"/>
                  </a:lnTo>
                  <a:lnTo>
                    <a:pt x="1808" y="1096"/>
                  </a:lnTo>
                  <a:lnTo>
                    <a:pt x="1810" y="996"/>
                  </a:lnTo>
                  <a:lnTo>
                    <a:pt x="1810" y="996"/>
                  </a:lnTo>
                  <a:lnTo>
                    <a:pt x="1808" y="946"/>
                  </a:lnTo>
                  <a:lnTo>
                    <a:pt x="1804" y="894"/>
                  </a:lnTo>
                  <a:lnTo>
                    <a:pt x="1798" y="844"/>
                  </a:lnTo>
                  <a:lnTo>
                    <a:pt x="1790" y="796"/>
                  </a:lnTo>
                  <a:lnTo>
                    <a:pt x="1780" y="748"/>
                  </a:lnTo>
                  <a:lnTo>
                    <a:pt x="1768" y="700"/>
                  </a:lnTo>
                  <a:lnTo>
                    <a:pt x="1754" y="654"/>
                  </a:lnTo>
                  <a:lnTo>
                    <a:pt x="1738" y="610"/>
                  </a:lnTo>
                  <a:lnTo>
                    <a:pt x="1720" y="564"/>
                  </a:lnTo>
                  <a:lnTo>
                    <a:pt x="1700" y="522"/>
                  </a:lnTo>
                  <a:lnTo>
                    <a:pt x="1678" y="480"/>
                  </a:lnTo>
                  <a:lnTo>
                    <a:pt x="1654" y="440"/>
                  </a:lnTo>
                  <a:lnTo>
                    <a:pt x="1630" y="400"/>
                  </a:lnTo>
                  <a:lnTo>
                    <a:pt x="1602" y="364"/>
                  </a:lnTo>
                  <a:lnTo>
                    <a:pt x="1574" y="328"/>
                  </a:lnTo>
                  <a:lnTo>
                    <a:pt x="1544" y="292"/>
                  </a:lnTo>
                  <a:lnTo>
                    <a:pt x="1512" y="260"/>
                  </a:lnTo>
                  <a:lnTo>
                    <a:pt x="1480" y="228"/>
                  </a:lnTo>
                  <a:lnTo>
                    <a:pt x="1446" y="198"/>
                  </a:lnTo>
                  <a:lnTo>
                    <a:pt x="1410" y="170"/>
                  </a:lnTo>
                  <a:lnTo>
                    <a:pt x="1374" y="144"/>
                  </a:lnTo>
                  <a:lnTo>
                    <a:pt x="1336" y="120"/>
                  </a:lnTo>
                  <a:lnTo>
                    <a:pt x="1296" y="98"/>
                  </a:lnTo>
                  <a:lnTo>
                    <a:pt x="1256" y="78"/>
                  </a:lnTo>
                  <a:lnTo>
                    <a:pt x="1216" y="62"/>
                  </a:lnTo>
                  <a:lnTo>
                    <a:pt x="1174" y="46"/>
                  </a:lnTo>
                  <a:lnTo>
                    <a:pt x="1130" y="32"/>
                  </a:lnTo>
                  <a:lnTo>
                    <a:pt x="1086" y="20"/>
                  </a:lnTo>
                  <a:lnTo>
                    <a:pt x="1042" y="12"/>
                  </a:lnTo>
                  <a:lnTo>
                    <a:pt x="996" y="6"/>
                  </a:lnTo>
                  <a:lnTo>
                    <a:pt x="950" y="2"/>
                  </a:lnTo>
                  <a:lnTo>
                    <a:pt x="904" y="0"/>
                  </a:lnTo>
                  <a:lnTo>
                    <a:pt x="904" y="0"/>
                  </a:lnTo>
                  <a:lnTo>
                    <a:pt x="858" y="2"/>
                  </a:lnTo>
                  <a:lnTo>
                    <a:pt x="812" y="6"/>
                  </a:lnTo>
                  <a:lnTo>
                    <a:pt x="766" y="12"/>
                  </a:lnTo>
                  <a:lnTo>
                    <a:pt x="722" y="20"/>
                  </a:lnTo>
                  <a:lnTo>
                    <a:pt x="678" y="32"/>
                  </a:lnTo>
                  <a:lnTo>
                    <a:pt x="636" y="46"/>
                  </a:lnTo>
                  <a:lnTo>
                    <a:pt x="594" y="62"/>
                  </a:lnTo>
                  <a:lnTo>
                    <a:pt x="552" y="78"/>
                  </a:lnTo>
                  <a:lnTo>
                    <a:pt x="512" y="98"/>
                  </a:lnTo>
                  <a:lnTo>
                    <a:pt x="474" y="120"/>
                  </a:lnTo>
                  <a:lnTo>
                    <a:pt x="436" y="144"/>
                  </a:lnTo>
                  <a:lnTo>
                    <a:pt x="400" y="170"/>
                  </a:lnTo>
                  <a:lnTo>
                    <a:pt x="364" y="198"/>
                  </a:lnTo>
                  <a:lnTo>
                    <a:pt x="330" y="228"/>
                  </a:lnTo>
                  <a:lnTo>
                    <a:pt x="296" y="260"/>
                  </a:lnTo>
                  <a:lnTo>
                    <a:pt x="266" y="292"/>
                  </a:lnTo>
                  <a:lnTo>
                    <a:pt x="236" y="328"/>
                  </a:lnTo>
                  <a:lnTo>
                    <a:pt x="206" y="364"/>
                  </a:lnTo>
                  <a:lnTo>
                    <a:pt x="180" y="400"/>
                  </a:lnTo>
                  <a:lnTo>
                    <a:pt x="154" y="440"/>
                  </a:lnTo>
                  <a:lnTo>
                    <a:pt x="130" y="480"/>
                  </a:lnTo>
                  <a:lnTo>
                    <a:pt x="110" y="522"/>
                  </a:lnTo>
                  <a:lnTo>
                    <a:pt x="90" y="564"/>
                  </a:lnTo>
                  <a:lnTo>
                    <a:pt x="72" y="610"/>
                  </a:lnTo>
                  <a:lnTo>
                    <a:pt x="54" y="654"/>
                  </a:lnTo>
                  <a:lnTo>
                    <a:pt x="40" y="700"/>
                  </a:lnTo>
                  <a:lnTo>
                    <a:pt x="28" y="748"/>
                  </a:lnTo>
                  <a:lnTo>
                    <a:pt x="18" y="796"/>
                  </a:lnTo>
                  <a:lnTo>
                    <a:pt x="10" y="844"/>
                  </a:lnTo>
                  <a:lnTo>
                    <a:pt x="4" y="894"/>
                  </a:lnTo>
                  <a:lnTo>
                    <a:pt x="2" y="946"/>
                  </a:lnTo>
                  <a:lnTo>
                    <a:pt x="0" y="996"/>
                  </a:lnTo>
                  <a:lnTo>
                    <a:pt x="0" y="996"/>
                  </a:lnTo>
                  <a:lnTo>
                    <a:pt x="2" y="1096"/>
                  </a:lnTo>
                  <a:lnTo>
                    <a:pt x="4" y="1190"/>
                  </a:lnTo>
                  <a:lnTo>
                    <a:pt x="10" y="1282"/>
                  </a:lnTo>
                  <a:lnTo>
                    <a:pt x="18" y="1370"/>
                  </a:lnTo>
                  <a:lnTo>
                    <a:pt x="30" y="1456"/>
                  </a:lnTo>
                  <a:lnTo>
                    <a:pt x="42" y="1536"/>
                  </a:lnTo>
                  <a:lnTo>
                    <a:pt x="58" y="1614"/>
                  </a:lnTo>
                  <a:lnTo>
                    <a:pt x="76" y="1688"/>
                  </a:lnTo>
                  <a:lnTo>
                    <a:pt x="96" y="1758"/>
                  </a:lnTo>
                  <a:lnTo>
                    <a:pt x="118" y="1824"/>
                  </a:lnTo>
                  <a:lnTo>
                    <a:pt x="144" y="1888"/>
                  </a:lnTo>
                  <a:lnTo>
                    <a:pt x="170" y="1947"/>
                  </a:lnTo>
                  <a:lnTo>
                    <a:pt x="200" y="2003"/>
                  </a:lnTo>
                  <a:lnTo>
                    <a:pt x="232" y="2055"/>
                  </a:lnTo>
                  <a:lnTo>
                    <a:pt x="266" y="2101"/>
                  </a:lnTo>
                  <a:lnTo>
                    <a:pt x="302" y="2145"/>
                  </a:lnTo>
                  <a:lnTo>
                    <a:pt x="302" y="2145"/>
                  </a:lnTo>
                  <a:lnTo>
                    <a:pt x="364" y="2213"/>
                  </a:lnTo>
                  <a:lnTo>
                    <a:pt x="396" y="2245"/>
                  </a:lnTo>
                  <a:lnTo>
                    <a:pt x="426" y="2277"/>
                  </a:lnTo>
                  <a:lnTo>
                    <a:pt x="458" y="2305"/>
                  </a:lnTo>
                  <a:lnTo>
                    <a:pt x="492" y="2333"/>
                  </a:lnTo>
                  <a:lnTo>
                    <a:pt x="526" y="2359"/>
                  </a:lnTo>
                  <a:lnTo>
                    <a:pt x="560" y="2383"/>
                  </a:lnTo>
                  <a:lnTo>
                    <a:pt x="598" y="2405"/>
                  </a:lnTo>
                  <a:lnTo>
                    <a:pt x="636" y="2425"/>
                  </a:lnTo>
                  <a:lnTo>
                    <a:pt x="674" y="2443"/>
                  </a:lnTo>
                  <a:lnTo>
                    <a:pt x="716" y="2457"/>
                  </a:lnTo>
                  <a:lnTo>
                    <a:pt x="760" y="2467"/>
                  </a:lnTo>
                  <a:lnTo>
                    <a:pt x="806" y="2477"/>
                  </a:lnTo>
                  <a:lnTo>
                    <a:pt x="854" y="2481"/>
                  </a:lnTo>
                  <a:lnTo>
                    <a:pt x="904" y="2483"/>
                  </a:lnTo>
                  <a:lnTo>
                    <a:pt x="904" y="2483"/>
                  </a:lnTo>
                  <a:close/>
                  <a:moveTo>
                    <a:pt x="904" y="286"/>
                  </a:moveTo>
                  <a:lnTo>
                    <a:pt x="904" y="286"/>
                  </a:lnTo>
                  <a:lnTo>
                    <a:pt x="936" y="288"/>
                  </a:lnTo>
                  <a:lnTo>
                    <a:pt x="968" y="290"/>
                  </a:lnTo>
                  <a:lnTo>
                    <a:pt x="998" y="294"/>
                  </a:lnTo>
                  <a:lnTo>
                    <a:pt x="1030" y="300"/>
                  </a:lnTo>
                  <a:lnTo>
                    <a:pt x="1060" y="308"/>
                  </a:lnTo>
                  <a:lnTo>
                    <a:pt x="1088" y="318"/>
                  </a:lnTo>
                  <a:lnTo>
                    <a:pt x="1118" y="330"/>
                  </a:lnTo>
                  <a:lnTo>
                    <a:pt x="1146" y="342"/>
                  </a:lnTo>
                  <a:lnTo>
                    <a:pt x="1172" y="356"/>
                  </a:lnTo>
                  <a:lnTo>
                    <a:pt x="1200" y="372"/>
                  </a:lnTo>
                  <a:lnTo>
                    <a:pt x="1226" y="390"/>
                  </a:lnTo>
                  <a:lnTo>
                    <a:pt x="1250" y="408"/>
                  </a:lnTo>
                  <a:lnTo>
                    <a:pt x="1274" y="428"/>
                  </a:lnTo>
                  <a:lnTo>
                    <a:pt x="1298" y="448"/>
                  </a:lnTo>
                  <a:lnTo>
                    <a:pt x="1320" y="470"/>
                  </a:lnTo>
                  <a:lnTo>
                    <a:pt x="1342" y="494"/>
                  </a:lnTo>
                  <a:lnTo>
                    <a:pt x="1362" y="518"/>
                  </a:lnTo>
                  <a:lnTo>
                    <a:pt x="1382" y="544"/>
                  </a:lnTo>
                  <a:lnTo>
                    <a:pt x="1400" y="572"/>
                  </a:lnTo>
                  <a:lnTo>
                    <a:pt x="1418" y="600"/>
                  </a:lnTo>
                  <a:lnTo>
                    <a:pt x="1434" y="628"/>
                  </a:lnTo>
                  <a:lnTo>
                    <a:pt x="1448" y="658"/>
                  </a:lnTo>
                  <a:lnTo>
                    <a:pt x="1462" y="688"/>
                  </a:lnTo>
                  <a:lnTo>
                    <a:pt x="1474" y="720"/>
                  </a:lnTo>
                  <a:lnTo>
                    <a:pt x="1486" y="752"/>
                  </a:lnTo>
                  <a:lnTo>
                    <a:pt x="1496" y="786"/>
                  </a:lnTo>
                  <a:lnTo>
                    <a:pt x="1504" y="818"/>
                  </a:lnTo>
                  <a:lnTo>
                    <a:pt x="1512" y="854"/>
                  </a:lnTo>
                  <a:lnTo>
                    <a:pt x="1516" y="888"/>
                  </a:lnTo>
                  <a:lnTo>
                    <a:pt x="1520" y="924"/>
                  </a:lnTo>
                  <a:lnTo>
                    <a:pt x="1522" y="960"/>
                  </a:lnTo>
                  <a:lnTo>
                    <a:pt x="1524" y="996"/>
                  </a:lnTo>
                  <a:lnTo>
                    <a:pt x="1524" y="996"/>
                  </a:lnTo>
                  <a:lnTo>
                    <a:pt x="1522" y="1080"/>
                  </a:lnTo>
                  <a:lnTo>
                    <a:pt x="1520" y="1160"/>
                  </a:lnTo>
                  <a:lnTo>
                    <a:pt x="1516" y="1238"/>
                  </a:lnTo>
                  <a:lnTo>
                    <a:pt x="1508" y="1314"/>
                  </a:lnTo>
                  <a:lnTo>
                    <a:pt x="1500" y="1386"/>
                  </a:lnTo>
                  <a:lnTo>
                    <a:pt x="1490" y="1454"/>
                  </a:lnTo>
                  <a:lnTo>
                    <a:pt x="1478" y="1520"/>
                  </a:lnTo>
                  <a:lnTo>
                    <a:pt x="1464" y="1582"/>
                  </a:lnTo>
                  <a:lnTo>
                    <a:pt x="1448" y="1642"/>
                  </a:lnTo>
                  <a:lnTo>
                    <a:pt x="1432" y="1698"/>
                  </a:lnTo>
                  <a:lnTo>
                    <a:pt x="1412" y="1750"/>
                  </a:lnTo>
                  <a:lnTo>
                    <a:pt x="1392" y="1798"/>
                  </a:lnTo>
                  <a:lnTo>
                    <a:pt x="1370" y="1844"/>
                  </a:lnTo>
                  <a:lnTo>
                    <a:pt x="1346" y="1884"/>
                  </a:lnTo>
                  <a:lnTo>
                    <a:pt x="1320" y="1922"/>
                  </a:lnTo>
                  <a:lnTo>
                    <a:pt x="1294" y="1955"/>
                  </a:lnTo>
                  <a:lnTo>
                    <a:pt x="1294" y="1955"/>
                  </a:lnTo>
                  <a:lnTo>
                    <a:pt x="1234" y="2021"/>
                  </a:lnTo>
                  <a:lnTo>
                    <a:pt x="1180" y="2073"/>
                  </a:lnTo>
                  <a:lnTo>
                    <a:pt x="1156" y="2097"/>
                  </a:lnTo>
                  <a:lnTo>
                    <a:pt x="1132" y="2115"/>
                  </a:lnTo>
                  <a:lnTo>
                    <a:pt x="1108" y="2133"/>
                  </a:lnTo>
                  <a:lnTo>
                    <a:pt x="1086" y="2147"/>
                  </a:lnTo>
                  <a:lnTo>
                    <a:pt x="1064" y="2161"/>
                  </a:lnTo>
                  <a:lnTo>
                    <a:pt x="1042" y="2171"/>
                  </a:lnTo>
                  <a:lnTo>
                    <a:pt x="1020" y="2179"/>
                  </a:lnTo>
                  <a:lnTo>
                    <a:pt x="998" y="2187"/>
                  </a:lnTo>
                  <a:lnTo>
                    <a:pt x="976" y="2191"/>
                  </a:lnTo>
                  <a:lnTo>
                    <a:pt x="954" y="2195"/>
                  </a:lnTo>
                  <a:lnTo>
                    <a:pt x="930" y="2197"/>
                  </a:lnTo>
                  <a:lnTo>
                    <a:pt x="904" y="2197"/>
                  </a:lnTo>
                  <a:lnTo>
                    <a:pt x="904" y="2197"/>
                  </a:lnTo>
                  <a:lnTo>
                    <a:pt x="880" y="2197"/>
                  </a:lnTo>
                  <a:lnTo>
                    <a:pt x="856" y="2195"/>
                  </a:lnTo>
                  <a:lnTo>
                    <a:pt x="832" y="2191"/>
                  </a:lnTo>
                  <a:lnTo>
                    <a:pt x="810" y="2187"/>
                  </a:lnTo>
                  <a:lnTo>
                    <a:pt x="788" y="2179"/>
                  </a:lnTo>
                  <a:lnTo>
                    <a:pt x="766" y="2171"/>
                  </a:lnTo>
                  <a:lnTo>
                    <a:pt x="744" y="2161"/>
                  </a:lnTo>
                  <a:lnTo>
                    <a:pt x="722" y="2147"/>
                  </a:lnTo>
                  <a:lnTo>
                    <a:pt x="700" y="2133"/>
                  </a:lnTo>
                  <a:lnTo>
                    <a:pt x="676" y="2115"/>
                  </a:lnTo>
                  <a:lnTo>
                    <a:pt x="654" y="2097"/>
                  </a:lnTo>
                  <a:lnTo>
                    <a:pt x="628" y="2073"/>
                  </a:lnTo>
                  <a:lnTo>
                    <a:pt x="574" y="2021"/>
                  </a:lnTo>
                  <a:lnTo>
                    <a:pt x="516" y="1955"/>
                  </a:lnTo>
                  <a:lnTo>
                    <a:pt x="516" y="1955"/>
                  </a:lnTo>
                  <a:lnTo>
                    <a:pt x="488" y="1922"/>
                  </a:lnTo>
                  <a:lnTo>
                    <a:pt x="462" y="1884"/>
                  </a:lnTo>
                  <a:lnTo>
                    <a:pt x="438" y="1844"/>
                  </a:lnTo>
                  <a:lnTo>
                    <a:pt x="416" y="1798"/>
                  </a:lnTo>
                  <a:lnTo>
                    <a:pt x="396" y="1750"/>
                  </a:lnTo>
                  <a:lnTo>
                    <a:pt x="378" y="1698"/>
                  </a:lnTo>
                  <a:lnTo>
                    <a:pt x="360" y="1642"/>
                  </a:lnTo>
                  <a:lnTo>
                    <a:pt x="344" y="1582"/>
                  </a:lnTo>
                  <a:lnTo>
                    <a:pt x="330" y="1520"/>
                  </a:lnTo>
                  <a:lnTo>
                    <a:pt x="318" y="1454"/>
                  </a:lnTo>
                  <a:lnTo>
                    <a:pt x="308" y="1386"/>
                  </a:lnTo>
                  <a:lnTo>
                    <a:pt x="300" y="1314"/>
                  </a:lnTo>
                  <a:lnTo>
                    <a:pt x="294" y="1238"/>
                  </a:lnTo>
                  <a:lnTo>
                    <a:pt x="290" y="1160"/>
                  </a:lnTo>
                  <a:lnTo>
                    <a:pt x="286" y="1080"/>
                  </a:lnTo>
                  <a:lnTo>
                    <a:pt x="286" y="996"/>
                  </a:lnTo>
                  <a:lnTo>
                    <a:pt x="286" y="996"/>
                  </a:lnTo>
                  <a:lnTo>
                    <a:pt x="286" y="960"/>
                  </a:lnTo>
                  <a:lnTo>
                    <a:pt x="288" y="924"/>
                  </a:lnTo>
                  <a:lnTo>
                    <a:pt x="292" y="888"/>
                  </a:lnTo>
                  <a:lnTo>
                    <a:pt x="298" y="854"/>
                  </a:lnTo>
                  <a:lnTo>
                    <a:pt x="304" y="818"/>
                  </a:lnTo>
                  <a:lnTo>
                    <a:pt x="314" y="786"/>
                  </a:lnTo>
                  <a:lnTo>
                    <a:pt x="322" y="752"/>
                  </a:lnTo>
                  <a:lnTo>
                    <a:pt x="334" y="720"/>
                  </a:lnTo>
                  <a:lnTo>
                    <a:pt x="346" y="688"/>
                  </a:lnTo>
                  <a:lnTo>
                    <a:pt x="360" y="658"/>
                  </a:lnTo>
                  <a:lnTo>
                    <a:pt x="376" y="628"/>
                  </a:lnTo>
                  <a:lnTo>
                    <a:pt x="392" y="600"/>
                  </a:lnTo>
                  <a:lnTo>
                    <a:pt x="408" y="572"/>
                  </a:lnTo>
                  <a:lnTo>
                    <a:pt x="426" y="544"/>
                  </a:lnTo>
                  <a:lnTo>
                    <a:pt x="446" y="518"/>
                  </a:lnTo>
                  <a:lnTo>
                    <a:pt x="466" y="494"/>
                  </a:lnTo>
                  <a:lnTo>
                    <a:pt x="488" y="470"/>
                  </a:lnTo>
                  <a:lnTo>
                    <a:pt x="510" y="448"/>
                  </a:lnTo>
                  <a:lnTo>
                    <a:pt x="534" y="428"/>
                  </a:lnTo>
                  <a:lnTo>
                    <a:pt x="558" y="408"/>
                  </a:lnTo>
                  <a:lnTo>
                    <a:pt x="584" y="390"/>
                  </a:lnTo>
                  <a:lnTo>
                    <a:pt x="610" y="372"/>
                  </a:lnTo>
                  <a:lnTo>
                    <a:pt x="636" y="356"/>
                  </a:lnTo>
                  <a:lnTo>
                    <a:pt x="664" y="342"/>
                  </a:lnTo>
                  <a:lnTo>
                    <a:pt x="692" y="330"/>
                  </a:lnTo>
                  <a:lnTo>
                    <a:pt x="720" y="318"/>
                  </a:lnTo>
                  <a:lnTo>
                    <a:pt x="750" y="308"/>
                  </a:lnTo>
                  <a:lnTo>
                    <a:pt x="780" y="300"/>
                  </a:lnTo>
                  <a:lnTo>
                    <a:pt x="810" y="294"/>
                  </a:lnTo>
                  <a:lnTo>
                    <a:pt x="842" y="290"/>
                  </a:lnTo>
                  <a:lnTo>
                    <a:pt x="872" y="288"/>
                  </a:lnTo>
                  <a:lnTo>
                    <a:pt x="904" y="286"/>
                  </a:lnTo>
                  <a:lnTo>
                    <a:pt x="904" y="286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78191" tIns="39096" rIns="78191" bIns="39096" numCol="1" anchor="t" anchorCtr="0" compatLnSpc="1">
              <a:prstTxWarp prst="textNoShape">
                <a:avLst/>
              </a:prstTxWarp>
            </a:bodyPr>
            <a:lstStyle/>
            <a:p>
              <a:endParaRPr lang="en-US" sz="800"/>
            </a:p>
          </p:txBody>
        </p:sp>
      </p:grpSp>
    </p:spTree>
    <p:extLst>
      <p:ext uri="{BB962C8B-B14F-4D97-AF65-F5344CB8AC3E}">
        <p14:creationId xmlns:p14="http://schemas.microsoft.com/office/powerpoint/2010/main" val="16076306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" name="Object 4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441509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2" name="think-cell Slide" r:id="rId4" imgW="455" imgH="454" progId="TCLayout.ActiveDocument.1">
                  <p:embed/>
                </p:oleObj>
              </mc:Choice>
              <mc:Fallback>
                <p:oleObj name="think-cell Slide" r:id="rId4" imgW="455" imgH="45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Tab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0600085"/>
              </p:ext>
            </p:extLst>
          </p:nvPr>
        </p:nvGraphicFramePr>
        <p:xfrm>
          <a:off x="261846" y="202486"/>
          <a:ext cx="12277909" cy="82015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32407">
                  <a:extLst>
                    <a:ext uri="{9D8B030D-6E8A-4147-A177-3AD203B41FA5}">
                      <a16:colId xmlns:a16="http://schemas.microsoft.com/office/drawing/2014/main" val="1681327849"/>
                    </a:ext>
                  </a:extLst>
                </a:gridCol>
                <a:gridCol w="1196018">
                  <a:extLst>
                    <a:ext uri="{9D8B030D-6E8A-4147-A177-3AD203B41FA5}">
                      <a16:colId xmlns:a16="http://schemas.microsoft.com/office/drawing/2014/main" val="168226751"/>
                    </a:ext>
                  </a:extLst>
                </a:gridCol>
                <a:gridCol w="1364212">
                  <a:extLst>
                    <a:ext uri="{9D8B030D-6E8A-4147-A177-3AD203B41FA5}">
                      <a16:colId xmlns:a16="http://schemas.microsoft.com/office/drawing/2014/main" val="3877241941"/>
                    </a:ext>
                  </a:extLst>
                </a:gridCol>
                <a:gridCol w="1364212">
                  <a:extLst>
                    <a:ext uri="{9D8B030D-6E8A-4147-A177-3AD203B41FA5}">
                      <a16:colId xmlns:a16="http://schemas.microsoft.com/office/drawing/2014/main" val="481638457"/>
                    </a:ext>
                  </a:extLst>
                </a:gridCol>
                <a:gridCol w="1364212">
                  <a:extLst>
                    <a:ext uri="{9D8B030D-6E8A-4147-A177-3AD203B41FA5}">
                      <a16:colId xmlns:a16="http://schemas.microsoft.com/office/drawing/2014/main" val="1749348368"/>
                    </a:ext>
                  </a:extLst>
                </a:gridCol>
                <a:gridCol w="1364212">
                  <a:extLst>
                    <a:ext uri="{9D8B030D-6E8A-4147-A177-3AD203B41FA5}">
                      <a16:colId xmlns:a16="http://schemas.microsoft.com/office/drawing/2014/main" val="2371438941"/>
                    </a:ext>
                  </a:extLst>
                </a:gridCol>
                <a:gridCol w="1364212">
                  <a:extLst>
                    <a:ext uri="{9D8B030D-6E8A-4147-A177-3AD203B41FA5}">
                      <a16:colId xmlns:a16="http://schemas.microsoft.com/office/drawing/2014/main" val="4198288426"/>
                    </a:ext>
                  </a:extLst>
                </a:gridCol>
                <a:gridCol w="1364212">
                  <a:extLst>
                    <a:ext uri="{9D8B030D-6E8A-4147-A177-3AD203B41FA5}">
                      <a16:colId xmlns:a16="http://schemas.microsoft.com/office/drawing/2014/main" val="979821667"/>
                    </a:ext>
                  </a:extLst>
                </a:gridCol>
                <a:gridCol w="1364212">
                  <a:extLst>
                    <a:ext uri="{9D8B030D-6E8A-4147-A177-3AD203B41FA5}">
                      <a16:colId xmlns:a16="http://schemas.microsoft.com/office/drawing/2014/main" val="1985156977"/>
                    </a:ext>
                  </a:extLst>
                </a:gridCol>
              </a:tblGrid>
              <a:tr h="0">
                <a:tc rowSpan="9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v-LV" sz="1100" b="1" dirty="0">
                          <a:solidFill>
                            <a:schemeClr val="bg1"/>
                          </a:solidFill>
                        </a:rPr>
                        <a:t>Instrukcija </a:t>
                      </a:r>
                      <a:endParaRPr lang="en-GB" sz="1100" b="1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288000" marB="288000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v-LV" sz="1100" b="1" dirty="0"/>
                        <a:t>Ko persona dara? (solis) </a:t>
                      </a:r>
                      <a:r>
                        <a:rPr lang="lv-LV" sz="1100" b="1" baseline="0" dirty="0"/>
                        <a:t> </a:t>
                      </a:r>
                      <a:endParaRPr lang="en-GB" sz="1100" b="1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9">
                  <a:txBody>
                    <a:bodyPr/>
                    <a:lstStyle/>
                    <a:p>
                      <a:pPr algn="ctr"/>
                      <a:r>
                        <a:rPr lang="lv-LV" sz="1100" dirty="0"/>
                        <a:t>Visa informācija jāiegūst</a:t>
                      </a:r>
                      <a:r>
                        <a:rPr lang="lv-LV" sz="1100" baseline="0" dirty="0"/>
                        <a:t> no personas  </a:t>
                      </a:r>
                      <a:endParaRPr lang="en-US" sz="1100" baseline="0" dirty="0"/>
                    </a:p>
                    <a:p>
                      <a:pPr algn="ctr"/>
                      <a:endParaRPr lang="lv-LV" sz="1100" baseline="0" dirty="0"/>
                    </a:p>
                    <a:p>
                      <a:pPr algn="ctr"/>
                      <a:r>
                        <a:rPr lang="lv-LV" sz="1100" baseline="0" dirty="0"/>
                        <a:t>Informācija jādokumentē personas "valodā"</a:t>
                      </a:r>
                      <a:endParaRPr lang="en-GB" sz="1100" dirty="0"/>
                    </a:p>
                  </a:txBody>
                  <a:tcPr marL="72000" marR="72000" marT="288000" marB="288000" anchor="ctr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15699823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lv-LV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180000" marB="180000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v-LV" sz="1100" b="1" dirty="0"/>
                        <a:t>Ko persona jūt? </a:t>
                      </a:r>
                      <a:endParaRPr lang="en-GB" sz="1100" b="1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 marL="72000" marR="72000" marT="104400" marB="104400"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6955093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sv-SE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180000" marB="180000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v-LV" sz="1100" b="1" dirty="0"/>
                        <a:t>Kādas ir personas vajadzības? </a:t>
                      </a:r>
                      <a:endParaRPr lang="en-GB" sz="1100" b="1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72000" marR="72000" marT="104400" marB="104400"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001709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lv-LV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180000" marB="180000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lv-LV" sz="1100" b="1" dirty="0"/>
                        <a:t>Kādi ir personas mērķi?</a:t>
                      </a:r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72000" marR="72000" marT="104400" marB="104400"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999973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lv-LV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180000" marB="180000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lv-LV" sz="1100" b="1" baseline="0" dirty="0"/>
                        <a:t>Aktivitātes</a:t>
                      </a:r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 marL="72000" marR="72000" marT="104400" marB="104400"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3332152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lv-LV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180000" marB="180000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v-LV" sz="1100" b="1" dirty="0"/>
                        <a:t>Saskares</a:t>
                      </a:r>
                      <a:r>
                        <a:rPr lang="lv-LV" sz="1100" b="1" baseline="0" dirty="0"/>
                        <a:t> punkti/kanāli </a:t>
                      </a:r>
                      <a:endParaRPr lang="en-GB" sz="1100" b="1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GB"/>
                    </a:p>
                  </a:txBody>
                  <a:tcPr marL="72000" marR="72000" marT="104400" marB="104400"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159257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lv-LV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180000" marB="180000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v-LV" sz="1100" b="1" dirty="0"/>
                        <a:t>Iztērētais / pavadītais laiks</a:t>
                      </a:r>
                      <a:r>
                        <a:rPr lang="lv-LV" sz="1100" b="1" baseline="0" dirty="0"/>
                        <a:t> </a:t>
                      </a:r>
                      <a:endParaRPr lang="en-GB" sz="1100" b="1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72000" marR="72000" marT="104400" marB="104400"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691187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lv-LV" sz="1100" dirty="0">
                        <a:solidFill>
                          <a:schemeClr val="bg1"/>
                        </a:solidFill>
                      </a:endParaRPr>
                    </a:p>
                  </a:txBody>
                  <a:tcPr marL="72000" marR="72000" marT="180000" marB="180000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v-LV" sz="1100" b="1" dirty="0"/>
                        <a:t>Problēmas</a:t>
                      </a:r>
                      <a:endParaRPr lang="en-GB" sz="1100" b="1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110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72000" marR="72000" marT="104400" marB="104400"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12521908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180000" marB="180000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accent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v-LV" sz="1100" b="1" dirty="0">
                          <a:solidFill>
                            <a:schemeClr val="tx1"/>
                          </a:solidFill>
                        </a:rPr>
                        <a:t>Idejas / iespējas </a:t>
                      </a:r>
                      <a:r>
                        <a:rPr lang="lv-LV" sz="1100" b="1" baseline="0" dirty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GB" sz="1100" b="1" dirty="0">
                        <a:solidFill>
                          <a:schemeClr val="tx1"/>
                        </a:solidFill>
                      </a:endParaRPr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GB" sz="1100" dirty="0"/>
                    </a:p>
                  </a:txBody>
                  <a:tcPr marL="72000" marR="72000" marT="288000" marB="288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 marL="72000" marR="72000" marT="104400" marB="104400"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934184949"/>
                  </a:ext>
                </a:extLst>
              </a:tr>
            </a:tbl>
          </a:graphicData>
        </a:graphic>
      </p:graphicFrame>
      <p:sp>
        <p:nvSpPr>
          <p:cNvPr id="3" name="Rectangle 2"/>
          <p:cNvSpPr/>
          <p:nvPr/>
        </p:nvSpPr>
        <p:spPr>
          <a:xfrm>
            <a:off x="4461017" y="7622905"/>
            <a:ext cx="3456480" cy="630154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r>
              <a:rPr lang="lv-LV" sz="1050" dirty="0">
                <a:solidFill>
                  <a:srgbClr val="000000"/>
                </a:solidFill>
              </a:rPr>
              <a:t>Ja persona pati intervijas laikā jau piedāvā idejas, risinājumus problēmai, tad noteikti tos fiksējiet. Bet šajā posmā tās nav galvenās….</a:t>
            </a:r>
            <a:endParaRPr lang="en-GB" sz="1050" dirty="0">
              <a:solidFill>
                <a:srgbClr val="000000"/>
              </a:solidFill>
            </a:endParaRPr>
          </a:p>
        </p:txBody>
      </p:sp>
      <p:cxnSp>
        <p:nvCxnSpPr>
          <p:cNvPr id="4" name="Straight Arrow Connector 3"/>
          <p:cNvCxnSpPr>
            <a:stCxn id="3" idx="1"/>
          </p:cNvCxnSpPr>
          <p:nvPr/>
        </p:nvCxnSpPr>
        <p:spPr>
          <a:xfrm flipH="1">
            <a:off x="4117148" y="7937982"/>
            <a:ext cx="343869" cy="0"/>
          </a:xfrm>
          <a:prstGeom prst="straightConnector1">
            <a:avLst/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grpSp>
        <p:nvGrpSpPr>
          <p:cNvPr id="82" name="Group 81"/>
          <p:cNvGrpSpPr/>
          <p:nvPr/>
        </p:nvGrpSpPr>
        <p:grpSpPr>
          <a:xfrm>
            <a:off x="4547021" y="1540477"/>
            <a:ext cx="277302" cy="4876370"/>
            <a:chOff x="4547021" y="1540477"/>
            <a:chExt cx="277302" cy="4876370"/>
          </a:xfrm>
        </p:grpSpPr>
        <p:sp>
          <p:nvSpPr>
            <p:cNvPr id="6" name="Rectangle 5"/>
            <p:cNvSpPr/>
            <p:nvPr/>
          </p:nvSpPr>
          <p:spPr>
            <a:xfrm>
              <a:off x="4547021" y="1540477"/>
              <a:ext cx="277302" cy="277301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GB" sz="1100" dirty="0"/>
                <a:t>2</a:t>
              </a:r>
            </a:p>
          </p:txBody>
        </p:sp>
        <p:cxnSp>
          <p:nvCxnSpPr>
            <p:cNvPr id="8" name="Straight Arrow Connector 7"/>
            <p:cNvCxnSpPr>
              <a:stCxn id="6" idx="2"/>
            </p:cNvCxnSpPr>
            <p:nvPr/>
          </p:nvCxnSpPr>
          <p:spPr>
            <a:xfrm flipH="1">
              <a:off x="4685667" y="1817778"/>
              <a:ext cx="57" cy="4599069"/>
            </a:xfrm>
            <a:prstGeom prst="straightConnector1">
              <a:avLst/>
            </a:prstGeom>
            <a:ln w="3175" cap="sq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81" name="Group 80"/>
          <p:cNvGrpSpPr/>
          <p:nvPr/>
        </p:nvGrpSpPr>
        <p:grpSpPr>
          <a:xfrm>
            <a:off x="5293456" y="1540477"/>
            <a:ext cx="277813" cy="4876370"/>
            <a:chOff x="5293456" y="1580083"/>
            <a:chExt cx="277813" cy="4876370"/>
          </a:xfrm>
        </p:grpSpPr>
        <p:sp>
          <p:nvSpPr>
            <p:cNvPr id="7" name="Rectangle 6"/>
            <p:cNvSpPr/>
            <p:nvPr/>
          </p:nvSpPr>
          <p:spPr>
            <a:xfrm>
              <a:off x="5293456" y="1580083"/>
              <a:ext cx="277813" cy="277813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GB" sz="1100" dirty="0"/>
                <a:t>3</a:t>
              </a:r>
            </a:p>
          </p:txBody>
        </p:sp>
        <p:cxnSp>
          <p:nvCxnSpPr>
            <p:cNvPr id="9" name="Straight Arrow Connector 8"/>
            <p:cNvCxnSpPr/>
            <p:nvPr/>
          </p:nvCxnSpPr>
          <p:spPr>
            <a:xfrm>
              <a:off x="5432362" y="1859272"/>
              <a:ext cx="0" cy="4597181"/>
            </a:xfrm>
            <a:prstGeom prst="straightConnector1">
              <a:avLst/>
            </a:prstGeom>
            <a:ln w="3175" cap="sq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17" name="Group 16"/>
          <p:cNvGrpSpPr/>
          <p:nvPr/>
        </p:nvGrpSpPr>
        <p:grpSpPr>
          <a:xfrm>
            <a:off x="1806422" y="8947078"/>
            <a:ext cx="1410016" cy="196622"/>
            <a:chOff x="1981670" y="5994400"/>
            <a:chExt cx="1410016" cy="196622"/>
          </a:xfrm>
        </p:grpSpPr>
        <p:sp>
          <p:nvSpPr>
            <p:cNvPr id="18" name="TextBox 17"/>
            <p:cNvSpPr txBox="1"/>
            <p:nvPr/>
          </p:nvSpPr>
          <p:spPr>
            <a:xfrm>
              <a:off x="2333704" y="6021745"/>
              <a:ext cx="1057982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lv-LV" sz="1100" dirty="0"/>
                <a:t>Kritiskais punkts </a:t>
              </a:r>
              <a:endParaRPr lang="en-GB" sz="1100" dirty="0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981670" y="5994400"/>
              <a:ext cx="286970" cy="177800"/>
            </a:xfrm>
            <a:prstGeom prst="rect">
              <a:avLst/>
            </a:prstGeom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100"/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3864620" y="8947078"/>
            <a:ext cx="1532969" cy="196622"/>
            <a:chOff x="3467663" y="5994400"/>
            <a:chExt cx="1532969" cy="196622"/>
          </a:xfrm>
        </p:grpSpPr>
        <p:sp>
          <p:nvSpPr>
            <p:cNvPr id="21" name="TextBox 20"/>
            <p:cNvSpPr txBox="1"/>
            <p:nvPr/>
          </p:nvSpPr>
          <p:spPr>
            <a:xfrm>
              <a:off x="3825630" y="6021745"/>
              <a:ext cx="1175002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lv-LV" sz="1100" dirty="0"/>
                <a:t>Patīkama pieredze</a:t>
              </a:r>
              <a:endParaRPr lang="en-GB" sz="1100" dirty="0"/>
            </a:p>
          </p:txBody>
        </p:sp>
        <p:sp>
          <p:nvSpPr>
            <p:cNvPr id="22" name="Rectangle 21"/>
            <p:cNvSpPr/>
            <p:nvPr/>
          </p:nvSpPr>
          <p:spPr>
            <a:xfrm>
              <a:off x="3467663" y="5994400"/>
              <a:ext cx="286970" cy="177800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100"/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6045772" y="8947078"/>
            <a:ext cx="922224" cy="196622"/>
            <a:chOff x="5072955" y="5994400"/>
            <a:chExt cx="922224" cy="196622"/>
          </a:xfrm>
        </p:grpSpPr>
        <p:sp>
          <p:nvSpPr>
            <p:cNvPr id="24" name="TextBox 23"/>
            <p:cNvSpPr txBox="1"/>
            <p:nvPr/>
          </p:nvSpPr>
          <p:spPr>
            <a:xfrm>
              <a:off x="5430922" y="6021745"/>
              <a:ext cx="564257" cy="169277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lv-LV" sz="1100" dirty="0"/>
                <a:t>Iespējas </a:t>
              </a:r>
              <a:endParaRPr lang="en-GB" sz="1100" dirty="0"/>
            </a:p>
          </p:txBody>
        </p:sp>
        <p:sp>
          <p:nvSpPr>
            <p:cNvPr id="25" name="Rectangle 24"/>
            <p:cNvSpPr/>
            <p:nvPr/>
          </p:nvSpPr>
          <p:spPr>
            <a:xfrm>
              <a:off x="5072955" y="5994400"/>
              <a:ext cx="286970" cy="177800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endParaRPr lang="en-GB" sz="1100"/>
            </a:p>
          </p:txBody>
        </p:sp>
      </p:grpSp>
      <p:grpSp>
        <p:nvGrpSpPr>
          <p:cNvPr id="61" name="Group 60"/>
          <p:cNvGrpSpPr/>
          <p:nvPr/>
        </p:nvGrpSpPr>
        <p:grpSpPr>
          <a:xfrm>
            <a:off x="311732" y="1254975"/>
            <a:ext cx="1549608" cy="627063"/>
            <a:chOff x="292068" y="1254975"/>
            <a:chExt cx="1549608" cy="627063"/>
          </a:xfrm>
        </p:grpSpPr>
        <p:sp>
          <p:nvSpPr>
            <p:cNvPr id="39" name="Rectangle 38"/>
            <p:cNvSpPr/>
            <p:nvPr/>
          </p:nvSpPr>
          <p:spPr>
            <a:xfrm>
              <a:off x="292068" y="1254975"/>
              <a:ext cx="1404938" cy="627063"/>
            </a:xfrm>
            <a:prstGeom prst="rect">
              <a:avLst/>
            </a:prstGeom>
            <a:ln w="3175">
              <a:solidFill>
                <a:schemeClr val="bg1"/>
              </a:solidFill>
            </a:ln>
          </p:spPr>
          <p:txBody>
            <a:bodyPr wrap="square" lIns="72000" tIns="36000" rIns="36000" bIns="36000" anchor="ctr">
              <a:noAutofit/>
            </a:bodyPr>
            <a:lstStyle/>
            <a:p>
              <a:r>
                <a:rPr lang="lv-LV" sz="900" dirty="0">
                  <a:solidFill>
                    <a:schemeClr val="bg1"/>
                  </a:solidFill>
                </a:rPr>
                <a:t>Aprakstiet vārdiem, piem. nemiers, sajūsma, apjukums</a:t>
              </a:r>
            </a:p>
          </p:txBody>
        </p:sp>
        <p:cxnSp>
          <p:nvCxnSpPr>
            <p:cNvPr id="57" name="Straight Connector 56"/>
            <p:cNvCxnSpPr/>
            <p:nvPr/>
          </p:nvCxnSpPr>
          <p:spPr>
            <a:xfrm flipV="1">
              <a:off x="1699444" y="1565453"/>
              <a:ext cx="142232" cy="3054"/>
            </a:xfrm>
            <a:prstGeom prst="line">
              <a:avLst/>
            </a:prstGeom>
            <a:ln w="6350" cap="sq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62" name="Group 61"/>
          <p:cNvGrpSpPr/>
          <p:nvPr/>
        </p:nvGrpSpPr>
        <p:grpSpPr>
          <a:xfrm>
            <a:off x="311732" y="2240950"/>
            <a:ext cx="1549608" cy="627063"/>
            <a:chOff x="292068" y="2240950"/>
            <a:chExt cx="1549608" cy="627063"/>
          </a:xfrm>
        </p:grpSpPr>
        <p:sp>
          <p:nvSpPr>
            <p:cNvPr id="40" name="Rectangle 39"/>
            <p:cNvSpPr/>
            <p:nvPr/>
          </p:nvSpPr>
          <p:spPr>
            <a:xfrm>
              <a:off x="292068" y="2240950"/>
              <a:ext cx="1404515" cy="627063"/>
            </a:xfrm>
            <a:prstGeom prst="rect">
              <a:avLst/>
            </a:prstGeom>
            <a:ln w="3175">
              <a:solidFill>
                <a:schemeClr val="bg1"/>
              </a:solidFill>
            </a:ln>
          </p:spPr>
          <p:txBody>
            <a:bodyPr wrap="square" lIns="72000" tIns="36000" rIns="36000" bIns="36000" anchor="ctr">
              <a:noAutofit/>
            </a:bodyPr>
            <a:lstStyle/>
            <a:p>
              <a:r>
                <a:rPr lang="sv-SE" sz="900" dirty="0">
                  <a:solidFill>
                    <a:schemeClr val="bg1"/>
                  </a:solidFill>
                </a:rPr>
                <a:t>Kādas ir vajadzības sperot konkrēto soli?</a:t>
              </a:r>
            </a:p>
          </p:txBody>
        </p:sp>
        <p:cxnSp>
          <p:nvCxnSpPr>
            <p:cNvPr id="58" name="Straight Connector 57"/>
            <p:cNvCxnSpPr/>
            <p:nvPr/>
          </p:nvCxnSpPr>
          <p:spPr>
            <a:xfrm flipV="1">
              <a:off x="1699444" y="2552954"/>
              <a:ext cx="142232" cy="3054"/>
            </a:xfrm>
            <a:prstGeom prst="line">
              <a:avLst/>
            </a:prstGeom>
            <a:ln w="6350" cap="sq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73" name="Group 72"/>
          <p:cNvGrpSpPr/>
          <p:nvPr/>
        </p:nvGrpSpPr>
        <p:grpSpPr>
          <a:xfrm>
            <a:off x="311732" y="3321705"/>
            <a:ext cx="1551228" cy="627063"/>
            <a:chOff x="292068" y="3321705"/>
            <a:chExt cx="1551228" cy="627063"/>
          </a:xfrm>
        </p:grpSpPr>
        <p:sp>
          <p:nvSpPr>
            <p:cNvPr id="41" name="Rectangle 40"/>
            <p:cNvSpPr/>
            <p:nvPr/>
          </p:nvSpPr>
          <p:spPr>
            <a:xfrm>
              <a:off x="292068" y="3321705"/>
              <a:ext cx="1404515" cy="627063"/>
            </a:xfrm>
            <a:prstGeom prst="rect">
              <a:avLst/>
            </a:prstGeom>
            <a:ln w="3175">
              <a:solidFill>
                <a:schemeClr val="bg1"/>
              </a:solidFill>
            </a:ln>
          </p:spPr>
          <p:txBody>
            <a:bodyPr wrap="square" lIns="72000" tIns="36000" rIns="36000" bIns="36000" anchor="ctr">
              <a:noAutofit/>
            </a:bodyPr>
            <a:lstStyle/>
            <a:p>
              <a:r>
                <a:rPr lang="lv-LV" sz="900" dirty="0">
                  <a:solidFill>
                    <a:schemeClr val="bg1"/>
                  </a:solidFill>
                </a:rPr>
                <a:t>Kāds ir mērķis veicot konkrēto soli?</a:t>
              </a:r>
            </a:p>
          </p:txBody>
        </p:sp>
        <p:cxnSp>
          <p:nvCxnSpPr>
            <p:cNvPr id="63" name="Straight Connector 62"/>
            <p:cNvCxnSpPr/>
            <p:nvPr/>
          </p:nvCxnSpPr>
          <p:spPr>
            <a:xfrm flipV="1">
              <a:off x="1701064" y="3633709"/>
              <a:ext cx="142232" cy="3054"/>
            </a:xfrm>
            <a:prstGeom prst="line">
              <a:avLst/>
            </a:prstGeom>
            <a:ln w="6350" cap="sq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72" name="Group 71"/>
          <p:cNvGrpSpPr/>
          <p:nvPr/>
        </p:nvGrpSpPr>
        <p:grpSpPr>
          <a:xfrm>
            <a:off x="311732" y="4229478"/>
            <a:ext cx="1551228" cy="627063"/>
            <a:chOff x="292068" y="4229478"/>
            <a:chExt cx="1551228" cy="627063"/>
          </a:xfrm>
        </p:grpSpPr>
        <p:sp>
          <p:nvSpPr>
            <p:cNvPr id="42" name="Rectangle 41"/>
            <p:cNvSpPr/>
            <p:nvPr/>
          </p:nvSpPr>
          <p:spPr>
            <a:xfrm>
              <a:off x="292068" y="4229478"/>
              <a:ext cx="1404515" cy="627063"/>
            </a:xfrm>
            <a:prstGeom prst="rect">
              <a:avLst/>
            </a:prstGeom>
            <a:ln w="3175">
              <a:solidFill>
                <a:schemeClr val="bg1"/>
              </a:solidFill>
            </a:ln>
          </p:spPr>
          <p:txBody>
            <a:bodyPr wrap="square" lIns="72000" tIns="36000" rIns="36000" bIns="36000" anchor="ctr">
              <a:noAutofit/>
            </a:bodyPr>
            <a:lstStyle/>
            <a:p>
              <a:r>
                <a:rPr lang="lv-LV" sz="900" dirty="0">
                  <a:solidFill>
                    <a:schemeClr val="bg1"/>
                  </a:solidFill>
                </a:rPr>
                <a:t>Kādas (sīkākas)  aktivitātes tiek veiktas, lai spertu soli? </a:t>
              </a:r>
            </a:p>
          </p:txBody>
        </p:sp>
        <p:cxnSp>
          <p:nvCxnSpPr>
            <p:cNvPr id="65" name="Straight Connector 64"/>
            <p:cNvCxnSpPr/>
            <p:nvPr/>
          </p:nvCxnSpPr>
          <p:spPr>
            <a:xfrm flipV="1">
              <a:off x="1701064" y="4541482"/>
              <a:ext cx="142232" cy="3054"/>
            </a:xfrm>
            <a:prstGeom prst="line">
              <a:avLst/>
            </a:prstGeom>
            <a:ln w="6350" cap="sq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71" name="Group 70"/>
          <p:cNvGrpSpPr/>
          <p:nvPr/>
        </p:nvGrpSpPr>
        <p:grpSpPr>
          <a:xfrm>
            <a:off x="311732" y="5056785"/>
            <a:ext cx="1551228" cy="626701"/>
            <a:chOff x="292068" y="5056785"/>
            <a:chExt cx="1551228" cy="626701"/>
          </a:xfrm>
        </p:grpSpPr>
        <p:sp>
          <p:nvSpPr>
            <p:cNvPr id="43" name="Rectangle 42"/>
            <p:cNvSpPr/>
            <p:nvPr/>
          </p:nvSpPr>
          <p:spPr>
            <a:xfrm>
              <a:off x="292068" y="5056785"/>
              <a:ext cx="1404515" cy="626701"/>
            </a:xfrm>
            <a:prstGeom prst="rect">
              <a:avLst/>
            </a:prstGeom>
            <a:ln w="3175">
              <a:solidFill>
                <a:schemeClr val="bg1"/>
              </a:solidFill>
            </a:ln>
          </p:spPr>
          <p:txBody>
            <a:bodyPr wrap="square" lIns="72000" tIns="36000" rIns="36000" bIns="36000" anchor="ctr">
              <a:spAutoFit/>
            </a:bodyPr>
            <a:lstStyle/>
            <a:p>
              <a:r>
                <a:rPr lang="lv-LV" sz="900" dirty="0">
                  <a:solidFill>
                    <a:schemeClr val="bg1"/>
                  </a:solidFill>
                </a:rPr>
                <a:t>Kur darbinieks atrodas, kad veic soli –  telpā, uz ielas, internetā, lieto speciālu aplikācju u.tml.?</a:t>
              </a:r>
            </a:p>
          </p:txBody>
        </p:sp>
        <p:cxnSp>
          <p:nvCxnSpPr>
            <p:cNvPr id="66" name="Straight Connector 65"/>
            <p:cNvCxnSpPr/>
            <p:nvPr/>
          </p:nvCxnSpPr>
          <p:spPr>
            <a:xfrm flipV="1">
              <a:off x="1701064" y="5366412"/>
              <a:ext cx="142232" cy="3054"/>
            </a:xfrm>
            <a:prstGeom prst="line">
              <a:avLst/>
            </a:prstGeom>
            <a:ln w="6350" cap="sq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70" name="Group 69"/>
          <p:cNvGrpSpPr/>
          <p:nvPr/>
        </p:nvGrpSpPr>
        <p:grpSpPr>
          <a:xfrm>
            <a:off x="311732" y="5942253"/>
            <a:ext cx="1551228" cy="626701"/>
            <a:chOff x="292068" y="5942253"/>
            <a:chExt cx="1551228" cy="626701"/>
          </a:xfrm>
        </p:grpSpPr>
        <p:sp>
          <p:nvSpPr>
            <p:cNvPr id="44" name="Rectangle 43"/>
            <p:cNvSpPr/>
            <p:nvPr/>
          </p:nvSpPr>
          <p:spPr>
            <a:xfrm>
              <a:off x="292068" y="5942253"/>
              <a:ext cx="1404515" cy="626701"/>
            </a:xfrm>
            <a:prstGeom prst="rect">
              <a:avLst/>
            </a:prstGeom>
            <a:ln w="3175">
              <a:solidFill>
                <a:schemeClr val="bg1"/>
              </a:solidFill>
            </a:ln>
          </p:spPr>
          <p:txBody>
            <a:bodyPr wrap="square" lIns="72000" tIns="36000" rIns="36000" bIns="36000" anchor="ctr">
              <a:spAutoFit/>
            </a:bodyPr>
            <a:lstStyle/>
            <a:p>
              <a:r>
                <a:rPr lang="lv-LV" sz="900" dirty="0">
                  <a:solidFill>
                    <a:schemeClr val="bg1"/>
                  </a:solidFill>
                </a:rPr>
                <a:t>Cik ilgā laikā tiek veiktas visas aktivitātes un persona ir gatava spert nākamo soli </a:t>
              </a:r>
            </a:p>
          </p:txBody>
        </p:sp>
        <p:cxnSp>
          <p:nvCxnSpPr>
            <p:cNvPr id="67" name="Straight Connector 66"/>
            <p:cNvCxnSpPr/>
            <p:nvPr/>
          </p:nvCxnSpPr>
          <p:spPr>
            <a:xfrm flipV="1">
              <a:off x="1701064" y="6258707"/>
              <a:ext cx="142232" cy="3054"/>
            </a:xfrm>
            <a:prstGeom prst="line">
              <a:avLst/>
            </a:prstGeom>
            <a:ln w="6350" cap="sq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69" name="Group 68"/>
          <p:cNvGrpSpPr/>
          <p:nvPr/>
        </p:nvGrpSpPr>
        <p:grpSpPr>
          <a:xfrm>
            <a:off x="311732" y="6798461"/>
            <a:ext cx="1551228" cy="627063"/>
            <a:chOff x="292068" y="6798461"/>
            <a:chExt cx="1551228" cy="627063"/>
          </a:xfrm>
        </p:grpSpPr>
        <p:sp>
          <p:nvSpPr>
            <p:cNvPr id="45" name="Rectangle 44"/>
            <p:cNvSpPr/>
            <p:nvPr/>
          </p:nvSpPr>
          <p:spPr>
            <a:xfrm>
              <a:off x="292068" y="6798461"/>
              <a:ext cx="1404515" cy="627063"/>
            </a:xfrm>
            <a:prstGeom prst="rect">
              <a:avLst/>
            </a:prstGeom>
            <a:ln w="3175">
              <a:solidFill>
                <a:schemeClr val="bg1"/>
              </a:solidFill>
            </a:ln>
          </p:spPr>
          <p:txBody>
            <a:bodyPr wrap="square" lIns="72000" tIns="36000" rIns="36000" bIns="36000" anchor="ctr">
              <a:noAutofit/>
            </a:bodyPr>
            <a:lstStyle/>
            <a:p>
              <a:r>
                <a:rPr lang="lv-LV" sz="900" dirty="0">
                  <a:solidFill>
                    <a:schemeClr val="bg1"/>
                  </a:solidFill>
                </a:rPr>
                <a:t>Kādas ir personas problēmas veicot šo soli?</a:t>
              </a:r>
            </a:p>
          </p:txBody>
        </p:sp>
        <p:cxnSp>
          <p:nvCxnSpPr>
            <p:cNvPr id="68" name="Straight Connector 67"/>
            <p:cNvCxnSpPr/>
            <p:nvPr/>
          </p:nvCxnSpPr>
          <p:spPr>
            <a:xfrm flipV="1">
              <a:off x="1701064" y="7113859"/>
              <a:ext cx="142232" cy="3054"/>
            </a:xfrm>
            <a:prstGeom prst="line">
              <a:avLst/>
            </a:prstGeom>
            <a:ln w="6350" cap="sq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87" name="Group 86"/>
          <p:cNvGrpSpPr/>
          <p:nvPr/>
        </p:nvGrpSpPr>
        <p:grpSpPr>
          <a:xfrm>
            <a:off x="5574921" y="1390658"/>
            <a:ext cx="2869832" cy="306989"/>
            <a:chOff x="5574921" y="1390658"/>
            <a:chExt cx="2869832" cy="306989"/>
          </a:xfrm>
        </p:grpSpPr>
        <p:sp>
          <p:nvSpPr>
            <p:cNvPr id="85" name="Rectangle 84"/>
            <p:cNvSpPr/>
            <p:nvPr/>
          </p:nvSpPr>
          <p:spPr>
            <a:xfrm>
              <a:off x="5918790" y="1390658"/>
              <a:ext cx="2525963" cy="306989"/>
            </a:xfrm>
            <a:prstGeom prst="rect">
              <a:avLst/>
            </a:prstGeom>
            <a:solidFill>
              <a:schemeClr val="bg1"/>
            </a:solidFill>
            <a:ln w="3175">
              <a:solidFill>
                <a:schemeClr val="accent5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 lIns="72000" tIns="72000" rIns="72000" bIns="72000" rtlCol="0" anchor="ctr">
              <a:spAutoFit/>
            </a:bodyPr>
            <a:lstStyle/>
            <a:p>
              <a:r>
                <a:rPr lang="lv-LV" sz="1050" dirty="0">
                  <a:solidFill>
                    <a:srgbClr val="000000"/>
                  </a:solidFill>
                </a:rPr>
                <a:t>Katram solim veiciet padziļinātu izpēti</a:t>
              </a:r>
            </a:p>
          </p:txBody>
        </p:sp>
        <p:cxnSp>
          <p:nvCxnSpPr>
            <p:cNvPr id="86" name="Straight Arrow Connector 85"/>
            <p:cNvCxnSpPr/>
            <p:nvPr/>
          </p:nvCxnSpPr>
          <p:spPr>
            <a:xfrm flipH="1">
              <a:off x="5574921" y="1540477"/>
              <a:ext cx="343869" cy="0"/>
            </a:xfrm>
            <a:prstGeom prst="straightConnector1">
              <a:avLst/>
            </a:prstGeom>
            <a:ln w="3175" cap="sq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88" name="Group 87"/>
          <p:cNvGrpSpPr/>
          <p:nvPr/>
        </p:nvGrpSpPr>
        <p:grpSpPr>
          <a:xfrm rot="16200000">
            <a:off x="7027145" y="-1919804"/>
            <a:ext cx="277301" cy="5237547"/>
            <a:chOff x="4547021" y="1540478"/>
            <a:chExt cx="277301" cy="4876369"/>
          </a:xfrm>
        </p:grpSpPr>
        <p:sp>
          <p:nvSpPr>
            <p:cNvPr id="89" name="Rectangle 88"/>
            <p:cNvSpPr/>
            <p:nvPr/>
          </p:nvSpPr>
          <p:spPr>
            <a:xfrm rot="5400000">
              <a:off x="4547021" y="1540478"/>
              <a:ext cx="277302" cy="277301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  <a:ln>
              <a:noFill/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0000"/>
                </a:lnSpc>
              </a:pPr>
              <a:r>
                <a:rPr lang="en-GB" sz="1100" dirty="0"/>
                <a:t>1</a:t>
              </a:r>
            </a:p>
          </p:txBody>
        </p:sp>
        <p:cxnSp>
          <p:nvCxnSpPr>
            <p:cNvPr id="90" name="Straight Arrow Connector 89"/>
            <p:cNvCxnSpPr>
              <a:stCxn id="89" idx="3"/>
            </p:cNvCxnSpPr>
            <p:nvPr/>
          </p:nvCxnSpPr>
          <p:spPr>
            <a:xfrm rot="5400000">
              <a:off x="2386136" y="4117312"/>
              <a:ext cx="4599067" cy="4"/>
            </a:xfrm>
            <a:prstGeom prst="straightConnector1">
              <a:avLst/>
            </a:prstGeom>
            <a:ln w="3175" cap="sq">
              <a:solidFill>
                <a:schemeClr val="bg1">
                  <a:lumMod val="6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sp>
        <p:nvSpPr>
          <p:cNvPr id="92" name="Rectangle 91"/>
          <p:cNvSpPr/>
          <p:nvPr/>
        </p:nvSpPr>
        <p:spPr>
          <a:xfrm>
            <a:off x="4547021" y="248440"/>
            <a:ext cx="5237548" cy="306989"/>
          </a:xfrm>
          <a:prstGeom prst="rect">
            <a:avLst/>
          </a:prstGeom>
          <a:solidFill>
            <a:schemeClr val="bg1"/>
          </a:solidFill>
          <a:ln w="3175">
            <a:solidFill>
              <a:schemeClr val="accent5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72000" tIns="72000" rIns="72000" bIns="72000" rtlCol="0" anchor="ctr">
            <a:spAutoFit/>
          </a:bodyPr>
          <a:lstStyle/>
          <a:p>
            <a:r>
              <a:rPr lang="lv-LV" sz="1050" dirty="0">
                <a:solidFill>
                  <a:srgbClr val="000000"/>
                </a:solidFill>
              </a:rPr>
              <a:t>Sāciet ceļojuma izveidi ar visu galveno  soļu / posmu identificēšanu personas valodā </a:t>
            </a:r>
          </a:p>
        </p:txBody>
      </p:sp>
    </p:spTree>
    <p:extLst>
      <p:ext uri="{BB962C8B-B14F-4D97-AF65-F5344CB8AC3E}">
        <p14:creationId xmlns:p14="http://schemas.microsoft.com/office/powerpoint/2010/main" val="181032429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967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9" name="think-cell Slide" r:id="rId4" imgW="455" imgH="454" progId="TCLayout.ActiveDocument.1">
                  <p:embed/>
                </p:oleObj>
              </mc:Choice>
              <mc:Fallback>
                <p:oleObj name="think-cell Slide" r:id="rId4" imgW="455" imgH="45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/>
          <p:cNvSpPr/>
          <p:nvPr/>
        </p:nvSpPr>
        <p:spPr>
          <a:xfrm>
            <a:off x="218364" y="3511167"/>
            <a:ext cx="4130939" cy="288147"/>
          </a:xfrm>
          <a:prstGeom prst="rect">
            <a:avLst/>
          </a:prstGeom>
          <a:ln>
            <a:noFill/>
          </a:ln>
        </p:spPr>
        <p:txBody>
          <a:bodyPr wrap="none" lIns="0" tIns="72000" rIns="0" bIns="0">
            <a:spAutoFit/>
          </a:bodyPr>
          <a:lstStyle/>
          <a:p>
            <a:r>
              <a:rPr lang="lv-LV" sz="1400" dirty="0">
                <a:solidFill>
                  <a:schemeClr val="accent5"/>
                </a:solidFill>
                <a:ea typeface="Georgia"/>
                <a:cs typeface="Georgia"/>
                <a:sym typeface="Georgia"/>
              </a:rPr>
              <a:t>[Kas ir jārisina? Kāds ir problēmas iemesls/cēlonis?]</a:t>
            </a:r>
          </a:p>
        </p:txBody>
      </p:sp>
      <p:sp>
        <p:nvSpPr>
          <p:cNvPr id="6" name="Rectangle 5"/>
          <p:cNvSpPr/>
          <p:nvPr/>
        </p:nvSpPr>
        <p:spPr>
          <a:xfrm>
            <a:off x="218364" y="5977930"/>
            <a:ext cx="10020372" cy="288147"/>
          </a:xfrm>
          <a:prstGeom prst="rect">
            <a:avLst/>
          </a:prstGeom>
          <a:ln>
            <a:noFill/>
          </a:ln>
        </p:spPr>
        <p:txBody>
          <a:bodyPr wrap="none" lIns="0" tIns="72000" rIns="0" bIns="0">
            <a:spAutoFit/>
          </a:bodyPr>
          <a:lstStyle/>
          <a:p>
            <a:r>
              <a:rPr lang="lv-LV" sz="1400" dirty="0">
                <a:solidFill>
                  <a:schemeClr val="accent5"/>
                </a:solidFill>
                <a:ea typeface="Georgia"/>
                <a:cs typeface="Georgia"/>
                <a:sym typeface="Georgia"/>
              </a:rPr>
              <a:t>[Kam šis risinājums ir nepieciešams, kāpēc? Kādas ir personas vajadzības, mērķi, gaidas? Skat. personas profilu un ceļojumu]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218364" y="3444588"/>
            <a:ext cx="12365038" cy="0"/>
          </a:xfrm>
          <a:prstGeom prst="line">
            <a:avLst/>
          </a:prstGeom>
          <a:ln w="3175" cap="sq">
            <a:solidFill>
              <a:schemeClr val="bg1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218364" y="5911351"/>
            <a:ext cx="12365038" cy="0"/>
          </a:xfrm>
          <a:prstGeom prst="line">
            <a:avLst/>
          </a:prstGeom>
          <a:ln w="3175" cap="sq">
            <a:solidFill>
              <a:schemeClr val="bg1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218363" y="8378114"/>
            <a:ext cx="12365038" cy="0"/>
          </a:xfrm>
          <a:prstGeom prst="line">
            <a:avLst/>
          </a:prstGeom>
          <a:ln w="3175" cap="sq">
            <a:solidFill>
              <a:schemeClr val="bg1">
                <a:lumMod val="75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10" name="Rectangle 9"/>
          <p:cNvSpPr/>
          <p:nvPr/>
        </p:nvSpPr>
        <p:spPr>
          <a:xfrm>
            <a:off x="218364" y="8444693"/>
            <a:ext cx="7062831" cy="288147"/>
          </a:xfrm>
          <a:prstGeom prst="rect">
            <a:avLst/>
          </a:prstGeom>
          <a:ln>
            <a:noFill/>
          </a:ln>
        </p:spPr>
        <p:txBody>
          <a:bodyPr wrap="none" lIns="0" tIns="72000" rIns="0" bIns="0">
            <a:spAutoFit/>
          </a:bodyPr>
          <a:lstStyle/>
          <a:p>
            <a:r>
              <a:rPr lang="lv-LV" sz="1400" dirty="0">
                <a:solidFill>
                  <a:schemeClr val="accent5"/>
                </a:solidFill>
                <a:ea typeface="Georgia"/>
                <a:cs typeface="Georgia"/>
                <a:sym typeface="Georgia"/>
              </a:rPr>
              <a:t>[Noderīgas atziņas, kuras ir iegūtas intervijās un kuras ir jāņem vērā, meklējot risinājumu]</a:t>
            </a:r>
          </a:p>
        </p:txBody>
      </p:sp>
      <p:sp>
        <p:nvSpPr>
          <p:cNvPr id="2" name="Rectangle 1"/>
          <p:cNvSpPr/>
          <p:nvPr/>
        </p:nvSpPr>
        <p:spPr>
          <a:xfrm rot="10800000" flipH="1" flipV="1">
            <a:off x="3175" y="609662"/>
            <a:ext cx="12798424" cy="9424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360000" rIns="72000" bIns="360000" rtlCol="0" anchor="ctr">
            <a:spAutoFit/>
          </a:bodyPr>
          <a:lstStyle/>
          <a:p>
            <a:r>
              <a:rPr lang="lv-LV" sz="1400" b="1" dirty="0">
                <a:solidFill>
                  <a:schemeClr val="tx1"/>
                </a:solidFill>
              </a:rPr>
              <a:t>Problēma</a:t>
            </a:r>
          </a:p>
        </p:txBody>
      </p:sp>
      <p:sp>
        <p:nvSpPr>
          <p:cNvPr id="4" name="Freeform 39"/>
          <p:cNvSpPr>
            <a:spLocks noChangeAspect="1" noEditPoints="1"/>
          </p:cNvSpPr>
          <p:nvPr/>
        </p:nvSpPr>
        <p:spPr bwMode="auto">
          <a:xfrm>
            <a:off x="11891387" y="854393"/>
            <a:ext cx="453014" cy="453012"/>
          </a:xfrm>
          <a:custGeom>
            <a:avLst/>
            <a:gdLst>
              <a:gd name="T0" fmla="*/ 100 w 200"/>
              <a:gd name="T1" fmla="*/ 200 h 200"/>
              <a:gd name="T2" fmla="*/ 151 w 200"/>
              <a:gd name="T3" fmla="*/ 175 h 200"/>
              <a:gd name="T4" fmla="*/ 50 w 200"/>
              <a:gd name="T5" fmla="*/ 175 h 200"/>
              <a:gd name="T6" fmla="*/ 100 w 200"/>
              <a:gd name="T7" fmla="*/ 200 h 200"/>
              <a:gd name="T8" fmla="*/ 193 w 200"/>
              <a:gd name="T9" fmla="*/ 112 h 200"/>
              <a:gd name="T10" fmla="*/ 178 w 200"/>
              <a:gd name="T11" fmla="*/ 105 h 200"/>
              <a:gd name="T12" fmla="*/ 156 w 200"/>
              <a:gd name="T13" fmla="*/ 45 h 200"/>
              <a:gd name="T14" fmla="*/ 144 w 200"/>
              <a:gd name="T15" fmla="*/ 37 h 200"/>
              <a:gd name="T16" fmla="*/ 138 w 200"/>
              <a:gd name="T17" fmla="*/ 37 h 200"/>
              <a:gd name="T18" fmla="*/ 100 w 200"/>
              <a:gd name="T19" fmla="*/ 0 h 200"/>
              <a:gd name="T20" fmla="*/ 63 w 200"/>
              <a:gd name="T21" fmla="*/ 37 h 200"/>
              <a:gd name="T22" fmla="*/ 57 w 200"/>
              <a:gd name="T23" fmla="*/ 37 h 200"/>
              <a:gd name="T24" fmla="*/ 45 w 200"/>
              <a:gd name="T25" fmla="*/ 45 h 200"/>
              <a:gd name="T26" fmla="*/ 23 w 200"/>
              <a:gd name="T27" fmla="*/ 105 h 200"/>
              <a:gd name="T28" fmla="*/ 8 w 200"/>
              <a:gd name="T29" fmla="*/ 112 h 200"/>
              <a:gd name="T30" fmla="*/ 0 w 200"/>
              <a:gd name="T31" fmla="*/ 124 h 200"/>
              <a:gd name="T32" fmla="*/ 0 w 200"/>
              <a:gd name="T33" fmla="*/ 150 h 200"/>
              <a:gd name="T34" fmla="*/ 200 w 200"/>
              <a:gd name="T35" fmla="*/ 150 h 200"/>
              <a:gd name="T36" fmla="*/ 200 w 200"/>
              <a:gd name="T37" fmla="*/ 124 h 200"/>
              <a:gd name="T38" fmla="*/ 193 w 200"/>
              <a:gd name="T39" fmla="*/ 112 h 200"/>
              <a:gd name="T40" fmla="*/ 88 w 200"/>
              <a:gd name="T41" fmla="*/ 37 h 200"/>
              <a:gd name="T42" fmla="*/ 100 w 200"/>
              <a:gd name="T43" fmla="*/ 25 h 200"/>
              <a:gd name="T44" fmla="*/ 113 w 200"/>
              <a:gd name="T45" fmla="*/ 37 h 200"/>
              <a:gd name="T46" fmla="*/ 88 w 200"/>
              <a:gd name="T47" fmla="*/ 37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00" h="200">
                <a:moveTo>
                  <a:pt x="100" y="200"/>
                </a:moveTo>
                <a:cubicBezTo>
                  <a:pt x="121" y="200"/>
                  <a:pt x="139" y="190"/>
                  <a:pt x="151" y="175"/>
                </a:cubicBezTo>
                <a:cubicBezTo>
                  <a:pt x="50" y="175"/>
                  <a:pt x="50" y="175"/>
                  <a:pt x="50" y="175"/>
                </a:cubicBezTo>
                <a:cubicBezTo>
                  <a:pt x="61" y="190"/>
                  <a:pt x="80" y="200"/>
                  <a:pt x="100" y="200"/>
                </a:cubicBezTo>
                <a:close/>
                <a:moveTo>
                  <a:pt x="193" y="112"/>
                </a:moveTo>
                <a:cubicBezTo>
                  <a:pt x="178" y="105"/>
                  <a:pt x="178" y="105"/>
                  <a:pt x="178" y="105"/>
                </a:cubicBezTo>
                <a:cubicBezTo>
                  <a:pt x="156" y="45"/>
                  <a:pt x="156" y="45"/>
                  <a:pt x="156" y="45"/>
                </a:cubicBezTo>
                <a:cubicBezTo>
                  <a:pt x="154" y="40"/>
                  <a:pt x="149" y="37"/>
                  <a:pt x="144" y="37"/>
                </a:cubicBezTo>
                <a:cubicBezTo>
                  <a:pt x="138" y="37"/>
                  <a:pt x="138" y="37"/>
                  <a:pt x="138" y="37"/>
                </a:cubicBezTo>
                <a:cubicBezTo>
                  <a:pt x="138" y="17"/>
                  <a:pt x="121" y="0"/>
                  <a:pt x="100" y="0"/>
                </a:cubicBezTo>
                <a:cubicBezTo>
                  <a:pt x="80" y="0"/>
                  <a:pt x="63" y="17"/>
                  <a:pt x="63" y="37"/>
                </a:cubicBezTo>
                <a:cubicBezTo>
                  <a:pt x="57" y="37"/>
                  <a:pt x="57" y="37"/>
                  <a:pt x="57" y="37"/>
                </a:cubicBezTo>
                <a:cubicBezTo>
                  <a:pt x="51" y="37"/>
                  <a:pt x="47" y="40"/>
                  <a:pt x="45" y="45"/>
                </a:cubicBezTo>
                <a:cubicBezTo>
                  <a:pt x="23" y="105"/>
                  <a:pt x="23" y="105"/>
                  <a:pt x="23" y="105"/>
                </a:cubicBezTo>
                <a:cubicBezTo>
                  <a:pt x="8" y="112"/>
                  <a:pt x="8" y="112"/>
                  <a:pt x="8" y="112"/>
                </a:cubicBezTo>
                <a:cubicBezTo>
                  <a:pt x="3" y="114"/>
                  <a:pt x="0" y="119"/>
                  <a:pt x="0" y="124"/>
                </a:cubicBezTo>
                <a:cubicBezTo>
                  <a:pt x="0" y="150"/>
                  <a:pt x="0" y="150"/>
                  <a:pt x="0" y="150"/>
                </a:cubicBezTo>
                <a:cubicBezTo>
                  <a:pt x="200" y="150"/>
                  <a:pt x="200" y="150"/>
                  <a:pt x="200" y="150"/>
                </a:cubicBezTo>
                <a:cubicBezTo>
                  <a:pt x="200" y="124"/>
                  <a:pt x="200" y="124"/>
                  <a:pt x="200" y="124"/>
                </a:cubicBezTo>
                <a:cubicBezTo>
                  <a:pt x="200" y="119"/>
                  <a:pt x="198" y="114"/>
                  <a:pt x="193" y="112"/>
                </a:cubicBezTo>
                <a:close/>
                <a:moveTo>
                  <a:pt x="88" y="37"/>
                </a:moveTo>
                <a:cubicBezTo>
                  <a:pt x="88" y="30"/>
                  <a:pt x="94" y="25"/>
                  <a:pt x="100" y="25"/>
                </a:cubicBezTo>
                <a:cubicBezTo>
                  <a:pt x="107" y="25"/>
                  <a:pt x="113" y="30"/>
                  <a:pt x="113" y="37"/>
                </a:cubicBezTo>
                <a:lnTo>
                  <a:pt x="88" y="37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  <p:sp>
        <p:nvSpPr>
          <p:cNvPr id="19" name="Rectangle 18"/>
          <p:cNvSpPr/>
          <p:nvPr/>
        </p:nvSpPr>
        <p:spPr>
          <a:xfrm>
            <a:off x="218364" y="1863162"/>
            <a:ext cx="12364872" cy="128283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21" name="Rectangle 20"/>
          <p:cNvSpPr/>
          <p:nvPr/>
        </p:nvSpPr>
        <p:spPr>
          <a:xfrm>
            <a:off x="218364" y="4329925"/>
            <a:ext cx="12364872" cy="128283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sp>
        <p:nvSpPr>
          <p:cNvPr id="22" name="Rectangle 21"/>
          <p:cNvSpPr/>
          <p:nvPr/>
        </p:nvSpPr>
        <p:spPr>
          <a:xfrm>
            <a:off x="218364" y="6796688"/>
            <a:ext cx="12364872" cy="1282831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</p:spTree>
    <p:extLst>
      <p:ext uri="{BB962C8B-B14F-4D97-AF65-F5344CB8AC3E}">
        <p14:creationId xmlns:p14="http://schemas.microsoft.com/office/powerpoint/2010/main" val="33762389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967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2" name="think-cell Slide" r:id="rId4" imgW="455" imgH="454" progId="TCLayout.ActiveDocument.1">
                  <p:embed/>
                </p:oleObj>
              </mc:Choice>
              <mc:Fallback>
                <p:oleObj name="think-cell Slide" r:id="rId4" imgW="455" imgH="454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/>
        </p:nvSpPr>
        <p:spPr>
          <a:xfrm rot="10800000" flipH="1" flipV="1">
            <a:off x="3175" y="609662"/>
            <a:ext cx="12798424" cy="94247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68000" tIns="360000" rIns="72000" bIns="360000" rtlCol="0" anchor="ctr">
            <a:spAutoFit/>
          </a:bodyPr>
          <a:lstStyle/>
          <a:p>
            <a:r>
              <a:rPr lang="lv-LV" sz="1400" b="1" dirty="0">
                <a:solidFill>
                  <a:schemeClr val="tx1"/>
                </a:solidFill>
              </a:rPr>
              <a:t>Klišejas</a:t>
            </a:r>
          </a:p>
        </p:txBody>
      </p:sp>
      <p:grpSp>
        <p:nvGrpSpPr>
          <p:cNvPr id="15" name="Group 14"/>
          <p:cNvGrpSpPr/>
          <p:nvPr/>
        </p:nvGrpSpPr>
        <p:grpSpPr>
          <a:xfrm>
            <a:off x="532116" y="2734310"/>
            <a:ext cx="11736000" cy="169277"/>
            <a:chOff x="478765" y="2969278"/>
            <a:chExt cx="11270323" cy="169277"/>
          </a:xfrm>
        </p:grpSpPr>
        <p:sp>
          <p:nvSpPr>
            <p:cNvPr id="16" name="Rectangle 15"/>
            <p:cNvSpPr/>
            <p:nvPr/>
          </p:nvSpPr>
          <p:spPr>
            <a:xfrm>
              <a:off x="478765" y="2969278"/>
              <a:ext cx="548025" cy="16927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lv-LV" sz="1100" b="1" dirty="0">
                  <a:solidFill>
                    <a:schemeClr val="accent5"/>
                  </a:solidFill>
                  <a:ea typeface="Georgia"/>
                  <a:cs typeface="Georgia"/>
                  <a:sym typeface="Georgia"/>
                </a:rPr>
                <a:t>Klišeja</a:t>
              </a:r>
              <a:r>
                <a:rPr lang="en-US" sz="1100" b="1" dirty="0">
                  <a:solidFill>
                    <a:schemeClr val="accent5"/>
                  </a:solidFill>
                  <a:ea typeface="Georgia"/>
                  <a:cs typeface="Georgia"/>
                  <a:sym typeface="Georgia"/>
                </a:rPr>
                <a:t> 1</a:t>
              </a:r>
              <a:endParaRPr lang="en-GB" sz="1100" b="1" dirty="0">
                <a:solidFill>
                  <a:schemeClr val="accent5"/>
                </a:solidFill>
              </a:endParaRPr>
            </a:p>
          </p:txBody>
        </p:sp>
        <p:cxnSp>
          <p:nvCxnSpPr>
            <p:cNvPr id="17" name="Straight Connector 16"/>
            <p:cNvCxnSpPr/>
            <p:nvPr/>
          </p:nvCxnSpPr>
          <p:spPr>
            <a:xfrm>
              <a:off x="1151467" y="3092389"/>
              <a:ext cx="10597621" cy="0"/>
            </a:xfrm>
            <a:prstGeom prst="line">
              <a:avLst/>
            </a:prstGeom>
            <a:ln w="3175" cap="sq">
              <a:solidFill>
                <a:schemeClr val="bg1">
                  <a:lumMod val="6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18" name="Group 17"/>
          <p:cNvGrpSpPr/>
          <p:nvPr/>
        </p:nvGrpSpPr>
        <p:grpSpPr>
          <a:xfrm>
            <a:off x="532116" y="4159949"/>
            <a:ext cx="11736000" cy="169277"/>
            <a:chOff x="478765" y="3547370"/>
            <a:chExt cx="11270323" cy="169277"/>
          </a:xfrm>
        </p:grpSpPr>
        <p:sp>
          <p:nvSpPr>
            <p:cNvPr id="20" name="Rectangle 19"/>
            <p:cNvSpPr/>
            <p:nvPr/>
          </p:nvSpPr>
          <p:spPr>
            <a:xfrm>
              <a:off x="478765" y="3547370"/>
              <a:ext cx="548025" cy="16927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lv-LV" sz="1100" b="1" dirty="0">
                  <a:solidFill>
                    <a:schemeClr val="accent4"/>
                  </a:solidFill>
                  <a:ea typeface="Georgia"/>
                  <a:cs typeface="Georgia"/>
                  <a:sym typeface="Georgia"/>
                </a:rPr>
                <a:t>Klišeja</a:t>
              </a:r>
              <a:r>
                <a:rPr lang="en-US" sz="1100" b="1" dirty="0">
                  <a:solidFill>
                    <a:schemeClr val="accent4"/>
                  </a:solidFill>
                  <a:ea typeface="Georgia"/>
                  <a:cs typeface="Georgia"/>
                  <a:sym typeface="Georgia"/>
                </a:rPr>
                <a:t> 2</a:t>
              </a:r>
              <a:endParaRPr lang="en-GB" sz="1100" b="1" dirty="0">
                <a:solidFill>
                  <a:schemeClr val="accent4"/>
                </a:solidFill>
              </a:endParaRPr>
            </a:p>
          </p:txBody>
        </p:sp>
        <p:cxnSp>
          <p:nvCxnSpPr>
            <p:cNvPr id="23" name="Straight Connector 22"/>
            <p:cNvCxnSpPr/>
            <p:nvPr/>
          </p:nvCxnSpPr>
          <p:spPr>
            <a:xfrm>
              <a:off x="1151467" y="3670481"/>
              <a:ext cx="10597621" cy="0"/>
            </a:xfrm>
            <a:prstGeom prst="line">
              <a:avLst/>
            </a:prstGeom>
            <a:ln w="3175" cap="sq">
              <a:solidFill>
                <a:schemeClr val="bg1">
                  <a:lumMod val="6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24" name="Group 23"/>
          <p:cNvGrpSpPr/>
          <p:nvPr/>
        </p:nvGrpSpPr>
        <p:grpSpPr>
          <a:xfrm>
            <a:off x="532116" y="5585588"/>
            <a:ext cx="11736000" cy="169277"/>
            <a:chOff x="478765" y="4125462"/>
            <a:chExt cx="11270323" cy="169277"/>
          </a:xfrm>
        </p:grpSpPr>
        <p:sp>
          <p:nvSpPr>
            <p:cNvPr id="25" name="Rectangle 24"/>
            <p:cNvSpPr/>
            <p:nvPr/>
          </p:nvSpPr>
          <p:spPr>
            <a:xfrm>
              <a:off x="478765" y="4125462"/>
              <a:ext cx="548025" cy="16927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lv-LV" sz="1100" b="1" dirty="0">
                  <a:solidFill>
                    <a:schemeClr val="accent1"/>
                  </a:solidFill>
                  <a:ea typeface="Georgia"/>
                  <a:cs typeface="Georgia"/>
                  <a:sym typeface="Georgia"/>
                </a:rPr>
                <a:t>Klišeja</a:t>
              </a:r>
              <a:r>
                <a:rPr lang="en-US" sz="1100" b="1" dirty="0">
                  <a:solidFill>
                    <a:schemeClr val="accent1"/>
                  </a:solidFill>
                  <a:ea typeface="Georgia"/>
                  <a:cs typeface="Georgia"/>
                  <a:sym typeface="Georgia"/>
                </a:rPr>
                <a:t> 3</a:t>
              </a:r>
              <a:endParaRPr lang="en-GB" sz="1100" b="1" dirty="0">
                <a:solidFill>
                  <a:schemeClr val="accent1"/>
                </a:solidFill>
              </a:endParaRPr>
            </a:p>
          </p:txBody>
        </p:sp>
        <p:cxnSp>
          <p:nvCxnSpPr>
            <p:cNvPr id="26" name="Straight Connector 25"/>
            <p:cNvCxnSpPr/>
            <p:nvPr/>
          </p:nvCxnSpPr>
          <p:spPr>
            <a:xfrm>
              <a:off x="1151467" y="4248573"/>
              <a:ext cx="10597621" cy="0"/>
            </a:xfrm>
            <a:prstGeom prst="line">
              <a:avLst/>
            </a:prstGeom>
            <a:ln w="3175" cap="sq">
              <a:solidFill>
                <a:schemeClr val="bg1">
                  <a:lumMod val="6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27" name="Group 26"/>
          <p:cNvGrpSpPr/>
          <p:nvPr/>
        </p:nvGrpSpPr>
        <p:grpSpPr>
          <a:xfrm>
            <a:off x="532116" y="7011227"/>
            <a:ext cx="11736000" cy="169277"/>
            <a:chOff x="478765" y="4703554"/>
            <a:chExt cx="11270323" cy="169277"/>
          </a:xfrm>
        </p:grpSpPr>
        <p:sp>
          <p:nvSpPr>
            <p:cNvPr id="28" name="Rectangle 27"/>
            <p:cNvSpPr/>
            <p:nvPr/>
          </p:nvSpPr>
          <p:spPr>
            <a:xfrm>
              <a:off x="478765" y="4703554"/>
              <a:ext cx="548025" cy="16927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lv-LV" sz="1100" b="1" dirty="0">
                  <a:solidFill>
                    <a:schemeClr val="accent5"/>
                  </a:solidFill>
                  <a:ea typeface="Georgia"/>
                  <a:cs typeface="Georgia"/>
                  <a:sym typeface="Georgia"/>
                </a:rPr>
                <a:t>Klišeja</a:t>
              </a:r>
              <a:r>
                <a:rPr lang="en-US" sz="1100" b="1" dirty="0">
                  <a:solidFill>
                    <a:schemeClr val="accent5"/>
                  </a:solidFill>
                  <a:ea typeface="Georgia"/>
                  <a:cs typeface="Georgia"/>
                  <a:sym typeface="Georgia"/>
                </a:rPr>
                <a:t> 4</a:t>
              </a:r>
              <a:endParaRPr lang="en-GB" sz="1100" b="1" dirty="0">
                <a:solidFill>
                  <a:schemeClr val="accent5"/>
                </a:solidFill>
              </a:endParaRPr>
            </a:p>
          </p:txBody>
        </p:sp>
        <p:cxnSp>
          <p:nvCxnSpPr>
            <p:cNvPr id="29" name="Straight Connector 28"/>
            <p:cNvCxnSpPr/>
            <p:nvPr/>
          </p:nvCxnSpPr>
          <p:spPr>
            <a:xfrm>
              <a:off x="1151467" y="4826665"/>
              <a:ext cx="10597621" cy="0"/>
            </a:xfrm>
            <a:prstGeom prst="line">
              <a:avLst/>
            </a:prstGeom>
            <a:ln w="3175" cap="sq">
              <a:solidFill>
                <a:schemeClr val="bg1">
                  <a:lumMod val="6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grpSp>
        <p:nvGrpSpPr>
          <p:cNvPr id="30" name="Group 29"/>
          <p:cNvGrpSpPr/>
          <p:nvPr/>
        </p:nvGrpSpPr>
        <p:grpSpPr>
          <a:xfrm>
            <a:off x="532116" y="8436867"/>
            <a:ext cx="11736000" cy="169277"/>
            <a:chOff x="478765" y="5281645"/>
            <a:chExt cx="11270323" cy="169277"/>
          </a:xfrm>
        </p:grpSpPr>
        <p:sp>
          <p:nvSpPr>
            <p:cNvPr id="31" name="Rectangle 30"/>
            <p:cNvSpPr/>
            <p:nvPr/>
          </p:nvSpPr>
          <p:spPr>
            <a:xfrm>
              <a:off x="478765" y="5281645"/>
              <a:ext cx="548025" cy="169277"/>
            </a:xfrm>
            <a:prstGeom prst="rect">
              <a:avLst/>
            </a:prstGeom>
          </p:spPr>
          <p:txBody>
            <a:bodyPr wrap="none" lIns="0" tIns="0" rIns="0" bIns="0">
              <a:spAutoFit/>
            </a:bodyPr>
            <a:lstStyle/>
            <a:p>
              <a:r>
                <a:rPr lang="lv-LV" sz="1100" b="1" dirty="0">
                  <a:solidFill>
                    <a:schemeClr val="accent3"/>
                  </a:solidFill>
                  <a:ea typeface="Georgia"/>
                  <a:cs typeface="Georgia"/>
                  <a:sym typeface="Georgia"/>
                </a:rPr>
                <a:t>Klišeja</a:t>
              </a:r>
              <a:r>
                <a:rPr lang="en-US" sz="1100" b="1" dirty="0">
                  <a:solidFill>
                    <a:schemeClr val="accent3"/>
                  </a:solidFill>
                  <a:ea typeface="Georgia"/>
                  <a:cs typeface="Georgia"/>
                  <a:sym typeface="Georgia"/>
                </a:rPr>
                <a:t> 5</a:t>
              </a:r>
              <a:endParaRPr lang="en-GB" sz="1100" b="1" dirty="0">
                <a:solidFill>
                  <a:schemeClr val="accent3"/>
                </a:solidFill>
              </a:endParaRPr>
            </a:p>
          </p:txBody>
        </p:sp>
        <p:cxnSp>
          <p:nvCxnSpPr>
            <p:cNvPr id="32" name="Straight Connector 31"/>
            <p:cNvCxnSpPr/>
            <p:nvPr/>
          </p:nvCxnSpPr>
          <p:spPr>
            <a:xfrm>
              <a:off x="1151467" y="5404756"/>
              <a:ext cx="10597621" cy="0"/>
            </a:xfrm>
            <a:prstGeom prst="line">
              <a:avLst/>
            </a:prstGeom>
            <a:ln w="3175" cap="sq">
              <a:solidFill>
                <a:schemeClr val="bg1">
                  <a:lumMod val="6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sp>
        <p:nvSpPr>
          <p:cNvPr id="33" name="Rectangle 32"/>
          <p:cNvSpPr/>
          <p:nvPr/>
        </p:nvSpPr>
        <p:spPr>
          <a:xfrm>
            <a:off x="469737" y="1304205"/>
            <a:ext cx="10236777" cy="161583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r>
              <a:rPr lang="lv-LV" sz="1050" dirty="0">
                <a:ea typeface="Georgia"/>
                <a:cs typeface="Georgia"/>
                <a:sym typeface="Georgia"/>
              </a:rPr>
              <a:t>[ Kādi ir "vispārpieņemtie" un "populārākie" problēmas risinājumi ar niecīgu izdomu un nabadzīgu radošo prasmju izpausmi? No kādiem risinājumiem centīsimies izvairīties]</a:t>
            </a:r>
          </a:p>
        </p:txBody>
      </p:sp>
      <p:sp>
        <p:nvSpPr>
          <p:cNvPr id="34" name="Freeform 27"/>
          <p:cNvSpPr>
            <a:spLocks noChangeAspect="1" noEditPoints="1"/>
          </p:cNvSpPr>
          <p:nvPr/>
        </p:nvSpPr>
        <p:spPr bwMode="auto">
          <a:xfrm>
            <a:off x="11931915" y="841465"/>
            <a:ext cx="371958" cy="457798"/>
          </a:xfrm>
          <a:custGeom>
            <a:avLst/>
            <a:gdLst>
              <a:gd name="T0" fmla="*/ 106 w 163"/>
              <a:gd name="T1" fmla="*/ 25 h 200"/>
              <a:gd name="T2" fmla="*/ 56 w 163"/>
              <a:gd name="T3" fmla="*/ 25 h 200"/>
              <a:gd name="T4" fmla="*/ 56 w 163"/>
              <a:gd name="T5" fmla="*/ 13 h 200"/>
              <a:gd name="T6" fmla="*/ 56 w 163"/>
              <a:gd name="T7" fmla="*/ 0 h 200"/>
              <a:gd name="T8" fmla="*/ 106 w 163"/>
              <a:gd name="T9" fmla="*/ 0 h 200"/>
              <a:gd name="T10" fmla="*/ 106 w 163"/>
              <a:gd name="T11" fmla="*/ 13 h 200"/>
              <a:gd name="T12" fmla="*/ 106 w 163"/>
              <a:gd name="T13" fmla="*/ 25 h 200"/>
              <a:gd name="T14" fmla="*/ 163 w 163"/>
              <a:gd name="T15" fmla="*/ 25 h 200"/>
              <a:gd name="T16" fmla="*/ 163 w 163"/>
              <a:gd name="T17" fmla="*/ 188 h 200"/>
              <a:gd name="T18" fmla="*/ 150 w 163"/>
              <a:gd name="T19" fmla="*/ 200 h 200"/>
              <a:gd name="T20" fmla="*/ 13 w 163"/>
              <a:gd name="T21" fmla="*/ 200 h 200"/>
              <a:gd name="T22" fmla="*/ 0 w 163"/>
              <a:gd name="T23" fmla="*/ 188 h 200"/>
              <a:gd name="T24" fmla="*/ 0 w 163"/>
              <a:gd name="T25" fmla="*/ 25 h 200"/>
              <a:gd name="T26" fmla="*/ 13 w 163"/>
              <a:gd name="T27" fmla="*/ 13 h 200"/>
              <a:gd name="T28" fmla="*/ 31 w 163"/>
              <a:gd name="T29" fmla="*/ 13 h 200"/>
              <a:gd name="T30" fmla="*/ 31 w 163"/>
              <a:gd name="T31" fmla="*/ 25 h 200"/>
              <a:gd name="T32" fmla="*/ 31 w 163"/>
              <a:gd name="T33" fmla="*/ 50 h 200"/>
              <a:gd name="T34" fmla="*/ 44 w 163"/>
              <a:gd name="T35" fmla="*/ 50 h 200"/>
              <a:gd name="T36" fmla="*/ 119 w 163"/>
              <a:gd name="T37" fmla="*/ 50 h 200"/>
              <a:gd name="T38" fmla="*/ 131 w 163"/>
              <a:gd name="T39" fmla="*/ 50 h 200"/>
              <a:gd name="T40" fmla="*/ 131 w 163"/>
              <a:gd name="T41" fmla="*/ 25 h 200"/>
              <a:gd name="T42" fmla="*/ 131 w 163"/>
              <a:gd name="T43" fmla="*/ 13 h 200"/>
              <a:gd name="T44" fmla="*/ 150 w 163"/>
              <a:gd name="T45" fmla="*/ 13 h 200"/>
              <a:gd name="T46" fmla="*/ 163 w 163"/>
              <a:gd name="T47" fmla="*/ 25 h 200"/>
              <a:gd name="T48" fmla="*/ 138 w 163"/>
              <a:gd name="T49" fmla="*/ 125 h 200"/>
              <a:gd name="T50" fmla="*/ 25 w 163"/>
              <a:gd name="T51" fmla="*/ 125 h 200"/>
              <a:gd name="T52" fmla="*/ 25 w 163"/>
              <a:gd name="T53" fmla="*/ 150 h 200"/>
              <a:gd name="T54" fmla="*/ 138 w 163"/>
              <a:gd name="T55" fmla="*/ 150 h 200"/>
              <a:gd name="T56" fmla="*/ 138 w 163"/>
              <a:gd name="T57" fmla="*/ 125 h 200"/>
              <a:gd name="T58" fmla="*/ 138 w 163"/>
              <a:gd name="T59" fmla="*/ 75 h 200"/>
              <a:gd name="T60" fmla="*/ 25 w 163"/>
              <a:gd name="T61" fmla="*/ 75 h 200"/>
              <a:gd name="T62" fmla="*/ 25 w 163"/>
              <a:gd name="T63" fmla="*/ 100 h 200"/>
              <a:gd name="T64" fmla="*/ 138 w 163"/>
              <a:gd name="T65" fmla="*/ 100 h 200"/>
              <a:gd name="T66" fmla="*/ 138 w 163"/>
              <a:gd name="T67" fmla="*/ 75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63" h="200">
                <a:moveTo>
                  <a:pt x="106" y="25"/>
                </a:moveTo>
                <a:cubicBezTo>
                  <a:pt x="56" y="25"/>
                  <a:pt x="56" y="25"/>
                  <a:pt x="56" y="25"/>
                </a:cubicBezTo>
                <a:cubicBezTo>
                  <a:pt x="56" y="13"/>
                  <a:pt x="56" y="13"/>
                  <a:pt x="56" y="13"/>
                </a:cubicBezTo>
                <a:cubicBezTo>
                  <a:pt x="56" y="0"/>
                  <a:pt x="56" y="0"/>
                  <a:pt x="56" y="0"/>
                </a:cubicBezTo>
                <a:cubicBezTo>
                  <a:pt x="106" y="0"/>
                  <a:pt x="106" y="0"/>
                  <a:pt x="106" y="0"/>
                </a:cubicBezTo>
                <a:cubicBezTo>
                  <a:pt x="106" y="13"/>
                  <a:pt x="106" y="13"/>
                  <a:pt x="106" y="13"/>
                </a:cubicBezTo>
                <a:lnTo>
                  <a:pt x="106" y="25"/>
                </a:lnTo>
                <a:close/>
                <a:moveTo>
                  <a:pt x="163" y="25"/>
                </a:moveTo>
                <a:cubicBezTo>
                  <a:pt x="163" y="188"/>
                  <a:pt x="163" y="188"/>
                  <a:pt x="163" y="188"/>
                </a:cubicBezTo>
                <a:cubicBezTo>
                  <a:pt x="163" y="194"/>
                  <a:pt x="157" y="200"/>
                  <a:pt x="150" y="200"/>
                </a:cubicBezTo>
                <a:cubicBezTo>
                  <a:pt x="13" y="200"/>
                  <a:pt x="13" y="200"/>
                  <a:pt x="13" y="200"/>
                </a:cubicBezTo>
                <a:cubicBezTo>
                  <a:pt x="6" y="200"/>
                  <a:pt x="0" y="194"/>
                  <a:pt x="0" y="188"/>
                </a:cubicBezTo>
                <a:cubicBezTo>
                  <a:pt x="0" y="25"/>
                  <a:pt x="0" y="25"/>
                  <a:pt x="0" y="25"/>
                </a:cubicBezTo>
                <a:cubicBezTo>
                  <a:pt x="0" y="18"/>
                  <a:pt x="6" y="13"/>
                  <a:pt x="13" y="13"/>
                </a:cubicBezTo>
                <a:cubicBezTo>
                  <a:pt x="31" y="13"/>
                  <a:pt x="31" y="13"/>
                  <a:pt x="31" y="13"/>
                </a:cubicBezTo>
                <a:cubicBezTo>
                  <a:pt x="31" y="25"/>
                  <a:pt x="31" y="25"/>
                  <a:pt x="31" y="25"/>
                </a:cubicBezTo>
                <a:cubicBezTo>
                  <a:pt x="31" y="50"/>
                  <a:pt x="31" y="50"/>
                  <a:pt x="31" y="50"/>
                </a:cubicBezTo>
                <a:cubicBezTo>
                  <a:pt x="44" y="50"/>
                  <a:pt x="44" y="50"/>
                  <a:pt x="44" y="50"/>
                </a:cubicBezTo>
                <a:cubicBezTo>
                  <a:pt x="119" y="50"/>
                  <a:pt x="119" y="50"/>
                  <a:pt x="119" y="50"/>
                </a:cubicBezTo>
                <a:cubicBezTo>
                  <a:pt x="131" y="50"/>
                  <a:pt x="131" y="50"/>
                  <a:pt x="131" y="50"/>
                </a:cubicBezTo>
                <a:cubicBezTo>
                  <a:pt x="131" y="25"/>
                  <a:pt x="131" y="25"/>
                  <a:pt x="131" y="25"/>
                </a:cubicBezTo>
                <a:cubicBezTo>
                  <a:pt x="131" y="13"/>
                  <a:pt x="131" y="13"/>
                  <a:pt x="131" y="13"/>
                </a:cubicBezTo>
                <a:cubicBezTo>
                  <a:pt x="150" y="13"/>
                  <a:pt x="150" y="13"/>
                  <a:pt x="150" y="13"/>
                </a:cubicBezTo>
                <a:cubicBezTo>
                  <a:pt x="157" y="13"/>
                  <a:pt x="163" y="18"/>
                  <a:pt x="163" y="25"/>
                </a:cubicBezTo>
                <a:close/>
                <a:moveTo>
                  <a:pt x="138" y="125"/>
                </a:moveTo>
                <a:cubicBezTo>
                  <a:pt x="25" y="125"/>
                  <a:pt x="25" y="125"/>
                  <a:pt x="25" y="125"/>
                </a:cubicBezTo>
                <a:cubicBezTo>
                  <a:pt x="25" y="150"/>
                  <a:pt x="25" y="150"/>
                  <a:pt x="25" y="150"/>
                </a:cubicBezTo>
                <a:cubicBezTo>
                  <a:pt x="138" y="150"/>
                  <a:pt x="138" y="150"/>
                  <a:pt x="138" y="150"/>
                </a:cubicBezTo>
                <a:lnTo>
                  <a:pt x="138" y="125"/>
                </a:lnTo>
                <a:close/>
                <a:moveTo>
                  <a:pt x="138" y="75"/>
                </a:moveTo>
                <a:cubicBezTo>
                  <a:pt x="25" y="75"/>
                  <a:pt x="25" y="75"/>
                  <a:pt x="25" y="75"/>
                </a:cubicBezTo>
                <a:cubicBezTo>
                  <a:pt x="25" y="100"/>
                  <a:pt x="25" y="100"/>
                  <a:pt x="25" y="100"/>
                </a:cubicBezTo>
                <a:cubicBezTo>
                  <a:pt x="138" y="100"/>
                  <a:pt x="138" y="100"/>
                  <a:pt x="138" y="100"/>
                </a:cubicBezTo>
                <a:lnTo>
                  <a:pt x="138" y="75"/>
                </a:lnTo>
                <a:close/>
              </a:path>
            </a:pathLst>
          </a:custGeom>
          <a:solidFill>
            <a:schemeClr val="accent6"/>
          </a:solidFill>
          <a:ln>
            <a:noFill/>
          </a:ln>
          <a:extLst/>
        </p:spPr>
        <p:txBody>
          <a:bodyPr vert="horz" wrap="square" lIns="78191" tIns="39096" rIns="78191" bIns="39096" numCol="1" anchor="t" anchorCtr="0" compatLnSpc="1">
            <a:prstTxWarp prst="textNoShape">
              <a:avLst/>
            </a:prstTxWarp>
          </a:bodyPr>
          <a:lstStyle/>
          <a:p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67889995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" name="Object 5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33251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6" name="think-cell Slide" r:id="rId4" imgW="455" imgH="454" progId="TCLayout.ActiveDocument.1">
                  <p:embed/>
                </p:oleObj>
              </mc:Choice>
              <mc:Fallback>
                <p:oleObj name="think-cell Slide" r:id="rId4" imgW="455" imgH="45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4" name="Group 73"/>
          <p:cNvGrpSpPr/>
          <p:nvPr/>
        </p:nvGrpSpPr>
        <p:grpSpPr>
          <a:xfrm>
            <a:off x="177025" y="2178145"/>
            <a:ext cx="7684275" cy="2424649"/>
            <a:chOff x="177025" y="2646376"/>
            <a:chExt cx="7684275" cy="2424649"/>
          </a:xfrm>
        </p:grpSpPr>
        <p:sp>
          <p:nvSpPr>
            <p:cNvPr id="9" name="Rectangle 8"/>
            <p:cNvSpPr/>
            <p:nvPr/>
          </p:nvSpPr>
          <p:spPr>
            <a:xfrm>
              <a:off x="177025" y="2829002"/>
              <a:ext cx="7683500" cy="2242023"/>
            </a:xfrm>
            <a:prstGeom prst="rect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10" name="Rectangle 9"/>
            <p:cNvSpPr/>
            <p:nvPr/>
          </p:nvSpPr>
          <p:spPr>
            <a:xfrm>
              <a:off x="177026" y="2646376"/>
              <a:ext cx="7684274" cy="532793"/>
            </a:xfrm>
            <a:prstGeom prst="rect">
              <a:avLst/>
            </a:prstGeom>
            <a:ln w="3175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 lIns="72000" tIns="180000" rIns="72000" bIns="180000" rtlCol="0" anchor="ctr">
              <a:spAutoFit/>
            </a:bodyPr>
            <a:lstStyle/>
            <a:p>
              <a:pPr algn="ctr"/>
              <a:r>
                <a:rPr lang="lv-LV" sz="1100" b="1" dirty="0">
                  <a:solidFill>
                    <a:srgbClr val="FFFFFF"/>
                  </a:solidFill>
                </a:rPr>
                <a:t>Kāpēc tas ir svarīgi? </a:t>
              </a:r>
            </a:p>
          </p:txBody>
        </p:sp>
      </p:grpSp>
      <p:grpSp>
        <p:nvGrpSpPr>
          <p:cNvPr id="73" name="Group 72"/>
          <p:cNvGrpSpPr/>
          <p:nvPr/>
        </p:nvGrpSpPr>
        <p:grpSpPr>
          <a:xfrm>
            <a:off x="177026" y="7551065"/>
            <a:ext cx="3965050" cy="1874570"/>
            <a:chOff x="366256" y="7551065"/>
            <a:chExt cx="3965050" cy="1874570"/>
          </a:xfrm>
        </p:grpSpPr>
        <p:sp>
          <p:nvSpPr>
            <p:cNvPr id="15" name="Rectangle 14"/>
            <p:cNvSpPr/>
            <p:nvPr/>
          </p:nvSpPr>
          <p:spPr>
            <a:xfrm>
              <a:off x="366256" y="7870512"/>
              <a:ext cx="3965050" cy="1555123"/>
            </a:xfrm>
            <a:prstGeom prst="rect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66256" y="7551065"/>
              <a:ext cx="3965050" cy="532793"/>
            </a:xfrm>
            <a:prstGeom prst="rect">
              <a:avLst/>
            </a:prstGeom>
            <a:solidFill>
              <a:schemeClr val="accent4"/>
            </a:solidFill>
            <a:ln w="3175">
              <a:solidFill>
                <a:schemeClr val="accent4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72000" tIns="180000" rIns="72000" bIns="180000" rtlCol="0" anchor="ctr">
              <a:spAutoFit/>
            </a:bodyPr>
            <a:lstStyle/>
            <a:p>
              <a:pPr algn="ctr"/>
              <a:r>
                <a:rPr lang="lv-LV" sz="1100" b="1" dirty="0">
                  <a:solidFill>
                    <a:srgbClr val="FFFFFF"/>
                  </a:solidFill>
                </a:rPr>
                <a:t>Nepieciešamie resursi </a:t>
              </a:r>
            </a:p>
          </p:txBody>
        </p:sp>
      </p:grpSp>
      <p:grpSp>
        <p:nvGrpSpPr>
          <p:cNvPr id="75" name="Group 74"/>
          <p:cNvGrpSpPr/>
          <p:nvPr/>
        </p:nvGrpSpPr>
        <p:grpSpPr>
          <a:xfrm>
            <a:off x="8040744" y="2178145"/>
            <a:ext cx="4572034" cy="2424649"/>
            <a:chOff x="8040744" y="2646376"/>
            <a:chExt cx="4572034" cy="2424649"/>
          </a:xfrm>
        </p:grpSpPr>
        <p:sp>
          <p:nvSpPr>
            <p:cNvPr id="20" name="Rectangle 19"/>
            <p:cNvSpPr/>
            <p:nvPr/>
          </p:nvSpPr>
          <p:spPr>
            <a:xfrm>
              <a:off x="8040744" y="2829002"/>
              <a:ext cx="4572000" cy="2242023"/>
            </a:xfrm>
            <a:prstGeom prst="rect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8040744" y="2646376"/>
              <a:ext cx="4572034" cy="532793"/>
            </a:xfrm>
            <a:prstGeom prst="rect">
              <a:avLst/>
            </a:prstGeom>
            <a:ln w="3175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 lIns="72000" tIns="180000" rIns="72000" bIns="180000" rtlCol="0" anchor="ctr">
              <a:spAutoFit/>
            </a:bodyPr>
            <a:lstStyle/>
            <a:p>
              <a:pPr algn="ctr"/>
              <a:r>
                <a:rPr lang="lv-LV" sz="1100" b="1" dirty="0">
                  <a:solidFill>
                    <a:srgbClr val="FFFFFF"/>
                  </a:solidFill>
                </a:rPr>
                <a:t>Vēlamā ietekme </a:t>
              </a:r>
            </a:p>
          </p:txBody>
        </p:sp>
      </p:grpSp>
      <p:grpSp>
        <p:nvGrpSpPr>
          <p:cNvPr id="72" name="Group 71"/>
          <p:cNvGrpSpPr/>
          <p:nvPr/>
        </p:nvGrpSpPr>
        <p:grpSpPr>
          <a:xfrm>
            <a:off x="4416533" y="7551065"/>
            <a:ext cx="3965050" cy="1874570"/>
            <a:chOff x="4365429" y="7551065"/>
            <a:chExt cx="3965050" cy="1874570"/>
          </a:xfrm>
        </p:grpSpPr>
        <p:sp>
          <p:nvSpPr>
            <p:cNvPr id="23" name="Rectangle 22"/>
            <p:cNvSpPr/>
            <p:nvPr/>
          </p:nvSpPr>
          <p:spPr>
            <a:xfrm>
              <a:off x="4365429" y="7870512"/>
              <a:ext cx="3965050" cy="1555123"/>
            </a:xfrm>
            <a:prstGeom prst="rect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24" name="Rectangle 23"/>
            <p:cNvSpPr/>
            <p:nvPr/>
          </p:nvSpPr>
          <p:spPr>
            <a:xfrm>
              <a:off x="4365429" y="7551065"/>
              <a:ext cx="3965050" cy="532793"/>
            </a:xfrm>
            <a:prstGeom prst="rect">
              <a:avLst/>
            </a:prstGeom>
            <a:solidFill>
              <a:schemeClr val="accent4"/>
            </a:solidFill>
            <a:ln w="3175">
              <a:solidFill>
                <a:schemeClr val="accent4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72000" tIns="180000" rIns="72000" bIns="180000" rtlCol="0" anchor="ctr">
              <a:spAutoFit/>
            </a:bodyPr>
            <a:lstStyle/>
            <a:p>
              <a:pPr algn="ctr"/>
              <a:r>
                <a:rPr lang="lv-LV" sz="1100" b="1" dirty="0">
                  <a:solidFill>
                    <a:srgbClr val="FFFFFF"/>
                  </a:solidFill>
                </a:rPr>
                <a:t>Iespējamie riski </a:t>
              </a:r>
            </a:p>
          </p:txBody>
        </p:sp>
      </p:grpSp>
      <p:grpSp>
        <p:nvGrpSpPr>
          <p:cNvPr id="71" name="Group 70"/>
          <p:cNvGrpSpPr/>
          <p:nvPr/>
        </p:nvGrpSpPr>
        <p:grpSpPr>
          <a:xfrm>
            <a:off x="8656039" y="7551065"/>
            <a:ext cx="3965050" cy="1874570"/>
            <a:chOff x="8569231" y="7551065"/>
            <a:chExt cx="3965050" cy="1874570"/>
          </a:xfrm>
        </p:grpSpPr>
        <p:sp>
          <p:nvSpPr>
            <p:cNvPr id="26" name="Rectangle 25"/>
            <p:cNvSpPr/>
            <p:nvPr/>
          </p:nvSpPr>
          <p:spPr>
            <a:xfrm>
              <a:off x="8569231" y="7870512"/>
              <a:ext cx="3965050" cy="1555123"/>
            </a:xfrm>
            <a:prstGeom prst="rect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8569231" y="7551065"/>
              <a:ext cx="3965050" cy="532793"/>
            </a:xfrm>
            <a:prstGeom prst="rect">
              <a:avLst/>
            </a:prstGeom>
            <a:solidFill>
              <a:schemeClr val="accent4"/>
            </a:solidFill>
            <a:ln w="3175">
              <a:solidFill>
                <a:schemeClr val="accent4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lIns="72000" tIns="180000" rIns="72000" bIns="180000" rtlCol="0" anchor="ctr">
              <a:spAutoFit/>
            </a:bodyPr>
            <a:lstStyle/>
            <a:p>
              <a:pPr algn="ctr"/>
              <a:r>
                <a:rPr lang="lv-LV" sz="1100" b="1" dirty="0">
                  <a:solidFill>
                    <a:srgbClr val="FFFFFF"/>
                  </a:solidFill>
                </a:rPr>
                <a:t>Ietekmes mērīšana (KPIs)</a:t>
              </a: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177026" y="5019987"/>
            <a:ext cx="12444063" cy="2113885"/>
            <a:chOff x="177026" y="5475679"/>
            <a:chExt cx="12444063" cy="2113885"/>
          </a:xfrm>
        </p:grpSpPr>
        <p:sp>
          <p:nvSpPr>
            <p:cNvPr id="12" name="Rectangle 11"/>
            <p:cNvSpPr/>
            <p:nvPr/>
          </p:nvSpPr>
          <p:spPr>
            <a:xfrm>
              <a:off x="177027" y="5603872"/>
              <a:ext cx="12444062" cy="1985692"/>
            </a:xfrm>
            <a:prstGeom prst="rect">
              <a:avLst/>
            </a:prstGeom>
            <a:noFill/>
            <a:ln w="3175">
              <a:solidFill>
                <a:schemeClr val="bg1">
                  <a:lumMod val="65000"/>
                </a:schemeClr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77026" y="5475679"/>
              <a:ext cx="12444062" cy="532793"/>
            </a:xfrm>
            <a:prstGeom prst="rect">
              <a:avLst/>
            </a:prstGeom>
            <a:solidFill>
              <a:schemeClr val="tx2"/>
            </a:solidFill>
            <a:ln w="3175">
              <a:solidFill>
                <a:schemeClr val="tx2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 lIns="72000" tIns="180000" rIns="72000" bIns="180000" rtlCol="0" anchor="ctr">
              <a:spAutoFit/>
            </a:bodyPr>
            <a:lstStyle/>
            <a:p>
              <a:pPr algn="ctr"/>
              <a:r>
                <a:rPr lang="lv-LV" sz="1100" b="1" dirty="0">
                  <a:solidFill>
                    <a:srgbClr val="FFFFFF"/>
                  </a:solidFill>
                </a:rPr>
                <a:t>5 soļu ieviešanas plāns </a:t>
              </a:r>
            </a:p>
          </p:txBody>
        </p:sp>
        <p:grpSp>
          <p:nvGrpSpPr>
            <p:cNvPr id="69" name="Group 68"/>
            <p:cNvGrpSpPr/>
            <p:nvPr/>
          </p:nvGrpSpPr>
          <p:grpSpPr>
            <a:xfrm>
              <a:off x="2704147" y="6005564"/>
              <a:ext cx="105727" cy="1584000"/>
              <a:chOff x="2704147" y="6005564"/>
              <a:chExt cx="105727" cy="1584000"/>
            </a:xfrm>
          </p:grpSpPr>
          <p:cxnSp>
            <p:nvCxnSpPr>
              <p:cNvPr id="28" name="Straight Connector 27"/>
              <p:cNvCxnSpPr/>
              <p:nvPr/>
            </p:nvCxnSpPr>
            <p:spPr>
              <a:xfrm>
                <a:off x="2704148" y="6005564"/>
                <a:ext cx="0" cy="1584000"/>
              </a:xfrm>
              <a:prstGeom prst="line">
                <a:avLst/>
              </a:prstGeom>
              <a:ln w="3175" cap="sq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sp>
            <p:nvSpPr>
              <p:cNvPr id="29" name="Freeform 36"/>
              <p:cNvSpPr>
                <a:spLocks noChangeAspect="1"/>
              </p:cNvSpPr>
              <p:nvPr/>
            </p:nvSpPr>
            <p:spPr bwMode="auto">
              <a:xfrm rot="5400000">
                <a:off x="2686448" y="6744701"/>
                <a:ext cx="141125" cy="105727"/>
              </a:xfrm>
              <a:custGeom>
                <a:avLst/>
                <a:gdLst>
                  <a:gd name="T0" fmla="*/ 0 w 303"/>
                  <a:gd name="T1" fmla="*/ 227 h 227"/>
                  <a:gd name="T2" fmla="*/ 303 w 303"/>
                  <a:gd name="T3" fmla="*/ 227 h 227"/>
                  <a:gd name="T4" fmla="*/ 152 w 303"/>
                  <a:gd name="T5" fmla="*/ 0 h 227"/>
                  <a:gd name="T6" fmla="*/ 0 w 303"/>
                  <a:gd name="T7" fmla="*/ 227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3" h="227">
                    <a:moveTo>
                      <a:pt x="0" y="227"/>
                    </a:moveTo>
                    <a:lnTo>
                      <a:pt x="303" y="227"/>
                    </a:lnTo>
                    <a:lnTo>
                      <a:pt x="152" y="0"/>
                    </a:lnTo>
                    <a:lnTo>
                      <a:pt x="0" y="227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/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/>
              </a:p>
            </p:txBody>
          </p:sp>
        </p:grpSp>
        <p:grpSp>
          <p:nvGrpSpPr>
            <p:cNvPr id="68" name="Group 67"/>
            <p:cNvGrpSpPr/>
            <p:nvPr/>
          </p:nvGrpSpPr>
          <p:grpSpPr>
            <a:xfrm>
              <a:off x="5129575" y="6005564"/>
              <a:ext cx="105727" cy="1584000"/>
              <a:chOff x="5129575" y="6005564"/>
              <a:chExt cx="105727" cy="1584000"/>
            </a:xfrm>
          </p:grpSpPr>
          <p:cxnSp>
            <p:nvCxnSpPr>
              <p:cNvPr id="30" name="Straight Connector 29"/>
              <p:cNvCxnSpPr/>
              <p:nvPr/>
            </p:nvCxnSpPr>
            <p:spPr>
              <a:xfrm>
                <a:off x="5129577" y="6005564"/>
                <a:ext cx="0" cy="1584000"/>
              </a:xfrm>
              <a:prstGeom prst="line">
                <a:avLst/>
              </a:prstGeom>
              <a:ln w="3175" cap="sq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sp>
            <p:nvSpPr>
              <p:cNvPr id="33" name="Freeform 36"/>
              <p:cNvSpPr>
                <a:spLocks noChangeAspect="1"/>
              </p:cNvSpPr>
              <p:nvPr/>
            </p:nvSpPr>
            <p:spPr bwMode="auto">
              <a:xfrm rot="5400000">
                <a:off x="5111876" y="6744701"/>
                <a:ext cx="141125" cy="105727"/>
              </a:xfrm>
              <a:custGeom>
                <a:avLst/>
                <a:gdLst>
                  <a:gd name="T0" fmla="*/ 0 w 303"/>
                  <a:gd name="T1" fmla="*/ 227 h 227"/>
                  <a:gd name="T2" fmla="*/ 303 w 303"/>
                  <a:gd name="T3" fmla="*/ 227 h 227"/>
                  <a:gd name="T4" fmla="*/ 152 w 303"/>
                  <a:gd name="T5" fmla="*/ 0 h 227"/>
                  <a:gd name="T6" fmla="*/ 0 w 303"/>
                  <a:gd name="T7" fmla="*/ 227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3" h="227">
                    <a:moveTo>
                      <a:pt x="0" y="227"/>
                    </a:moveTo>
                    <a:lnTo>
                      <a:pt x="303" y="227"/>
                    </a:lnTo>
                    <a:lnTo>
                      <a:pt x="152" y="0"/>
                    </a:lnTo>
                    <a:lnTo>
                      <a:pt x="0" y="227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/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/>
              </a:p>
            </p:txBody>
          </p:sp>
        </p:grpSp>
        <p:grpSp>
          <p:nvGrpSpPr>
            <p:cNvPr id="67" name="Group 66"/>
            <p:cNvGrpSpPr/>
            <p:nvPr/>
          </p:nvGrpSpPr>
          <p:grpSpPr>
            <a:xfrm>
              <a:off x="7555003" y="6005564"/>
              <a:ext cx="105727" cy="1584000"/>
              <a:chOff x="7555003" y="6005564"/>
              <a:chExt cx="105727" cy="1584000"/>
            </a:xfrm>
          </p:grpSpPr>
          <p:cxnSp>
            <p:nvCxnSpPr>
              <p:cNvPr id="31" name="Straight Connector 30"/>
              <p:cNvCxnSpPr/>
              <p:nvPr/>
            </p:nvCxnSpPr>
            <p:spPr>
              <a:xfrm>
                <a:off x="7555006" y="6005564"/>
                <a:ext cx="0" cy="1584000"/>
              </a:xfrm>
              <a:prstGeom prst="line">
                <a:avLst/>
              </a:prstGeom>
              <a:ln w="3175" cap="sq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sp>
            <p:nvSpPr>
              <p:cNvPr id="34" name="Freeform 36"/>
              <p:cNvSpPr>
                <a:spLocks noChangeAspect="1"/>
              </p:cNvSpPr>
              <p:nvPr/>
            </p:nvSpPr>
            <p:spPr bwMode="auto">
              <a:xfrm rot="5400000">
                <a:off x="7537304" y="6744701"/>
                <a:ext cx="141125" cy="105727"/>
              </a:xfrm>
              <a:custGeom>
                <a:avLst/>
                <a:gdLst>
                  <a:gd name="T0" fmla="*/ 0 w 303"/>
                  <a:gd name="T1" fmla="*/ 227 h 227"/>
                  <a:gd name="T2" fmla="*/ 303 w 303"/>
                  <a:gd name="T3" fmla="*/ 227 h 227"/>
                  <a:gd name="T4" fmla="*/ 152 w 303"/>
                  <a:gd name="T5" fmla="*/ 0 h 227"/>
                  <a:gd name="T6" fmla="*/ 0 w 303"/>
                  <a:gd name="T7" fmla="*/ 227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3" h="227">
                    <a:moveTo>
                      <a:pt x="0" y="227"/>
                    </a:moveTo>
                    <a:lnTo>
                      <a:pt x="303" y="227"/>
                    </a:lnTo>
                    <a:lnTo>
                      <a:pt x="152" y="0"/>
                    </a:lnTo>
                    <a:lnTo>
                      <a:pt x="0" y="227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/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/>
              </a:p>
            </p:txBody>
          </p:sp>
        </p:grpSp>
        <p:grpSp>
          <p:nvGrpSpPr>
            <p:cNvPr id="66" name="Group 65"/>
            <p:cNvGrpSpPr/>
            <p:nvPr/>
          </p:nvGrpSpPr>
          <p:grpSpPr>
            <a:xfrm>
              <a:off x="9980430" y="6005564"/>
              <a:ext cx="105727" cy="1584000"/>
              <a:chOff x="9980430" y="6005564"/>
              <a:chExt cx="105727" cy="1584000"/>
            </a:xfrm>
          </p:grpSpPr>
          <p:cxnSp>
            <p:nvCxnSpPr>
              <p:cNvPr id="32" name="Straight Connector 31"/>
              <p:cNvCxnSpPr/>
              <p:nvPr/>
            </p:nvCxnSpPr>
            <p:spPr>
              <a:xfrm>
                <a:off x="9980430" y="6005564"/>
                <a:ext cx="0" cy="1584000"/>
              </a:xfrm>
              <a:prstGeom prst="line">
                <a:avLst/>
              </a:prstGeom>
              <a:ln w="3175" cap="sq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dk1"/>
              </a:effectRef>
              <a:fontRef idx="minor">
                <a:schemeClr val="lt1"/>
              </a:fontRef>
            </p:style>
          </p:cxnSp>
          <p:sp>
            <p:nvSpPr>
              <p:cNvPr id="35" name="Freeform 36"/>
              <p:cNvSpPr>
                <a:spLocks noChangeAspect="1"/>
              </p:cNvSpPr>
              <p:nvPr/>
            </p:nvSpPr>
            <p:spPr bwMode="auto">
              <a:xfrm rot="5400000">
                <a:off x="9962731" y="6744701"/>
                <a:ext cx="141125" cy="105727"/>
              </a:xfrm>
              <a:custGeom>
                <a:avLst/>
                <a:gdLst>
                  <a:gd name="T0" fmla="*/ 0 w 303"/>
                  <a:gd name="T1" fmla="*/ 227 h 227"/>
                  <a:gd name="T2" fmla="*/ 303 w 303"/>
                  <a:gd name="T3" fmla="*/ 227 h 227"/>
                  <a:gd name="T4" fmla="*/ 152 w 303"/>
                  <a:gd name="T5" fmla="*/ 0 h 227"/>
                  <a:gd name="T6" fmla="*/ 0 w 303"/>
                  <a:gd name="T7" fmla="*/ 227 h 2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3" h="227">
                    <a:moveTo>
                      <a:pt x="0" y="227"/>
                    </a:moveTo>
                    <a:lnTo>
                      <a:pt x="303" y="227"/>
                    </a:lnTo>
                    <a:lnTo>
                      <a:pt x="152" y="0"/>
                    </a:lnTo>
                    <a:lnTo>
                      <a:pt x="0" y="227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/>
            </p:spPr>
            <p:txBody>
              <a:bodyPr vert="horz" wrap="square" lIns="78191" tIns="39096" rIns="78191" bIns="39096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100"/>
              </a:p>
            </p:txBody>
          </p:sp>
        </p:grpSp>
      </p:grpSp>
      <p:grpSp>
        <p:nvGrpSpPr>
          <p:cNvPr id="5" name="Group 4"/>
          <p:cNvGrpSpPr/>
          <p:nvPr/>
        </p:nvGrpSpPr>
        <p:grpSpPr>
          <a:xfrm flipH="1">
            <a:off x="784353" y="441260"/>
            <a:ext cx="2055062" cy="1319692"/>
            <a:chOff x="9354425" y="2103438"/>
            <a:chExt cx="2394663" cy="1190095"/>
          </a:xfrm>
        </p:grpSpPr>
        <p:cxnSp>
          <p:nvCxnSpPr>
            <p:cNvPr id="6" name="Straight Connector 5"/>
            <p:cNvCxnSpPr/>
            <p:nvPr/>
          </p:nvCxnSpPr>
          <p:spPr>
            <a:xfrm flipH="1" flipV="1">
              <a:off x="9354425" y="2703545"/>
              <a:ext cx="2394663" cy="589988"/>
            </a:xfrm>
            <a:prstGeom prst="line">
              <a:avLst/>
            </a:prstGeom>
            <a:ln w="3175" cap="sq">
              <a:solidFill>
                <a:schemeClr val="bg1">
                  <a:lumMod val="6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7" name="Straight Connector 6"/>
            <p:cNvCxnSpPr/>
            <p:nvPr/>
          </p:nvCxnSpPr>
          <p:spPr>
            <a:xfrm flipH="1">
              <a:off x="9354425" y="2103438"/>
              <a:ext cx="2394663" cy="589988"/>
            </a:xfrm>
            <a:prstGeom prst="line">
              <a:avLst/>
            </a:prstGeom>
            <a:ln w="3175" cap="sq">
              <a:solidFill>
                <a:schemeClr val="bg1">
                  <a:lumMod val="6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sp>
        <p:nvSpPr>
          <p:cNvPr id="18" name="Rounded Rectangle 17"/>
          <p:cNvSpPr/>
          <p:nvPr/>
        </p:nvSpPr>
        <p:spPr>
          <a:xfrm>
            <a:off x="177026" y="441260"/>
            <a:ext cx="6069766" cy="1319692"/>
          </a:xfrm>
          <a:prstGeom prst="roundRect">
            <a:avLst>
              <a:gd name="adj" fmla="val 50000"/>
            </a:avLst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100"/>
          </a:p>
        </p:txBody>
      </p:sp>
      <p:cxnSp>
        <p:nvCxnSpPr>
          <p:cNvPr id="36" name="Straight Arrow Connector 35"/>
          <p:cNvCxnSpPr/>
          <p:nvPr/>
        </p:nvCxnSpPr>
        <p:spPr>
          <a:xfrm>
            <a:off x="3591358" y="1102357"/>
            <a:ext cx="2579738" cy="0"/>
          </a:xfrm>
          <a:prstGeom prst="straightConnector1">
            <a:avLst/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38" name="TextBox 37"/>
          <p:cNvSpPr txBox="1"/>
          <p:nvPr/>
        </p:nvSpPr>
        <p:spPr>
          <a:xfrm>
            <a:off x="754823" y="1015783"/>
            <a:ext cx="1499838" cy="17064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lv-LV" sz="1100" dirty="0"/>
              <a:t>Lietotāja problēma</a:t>
            </a:r>
            <a:endParaRPr lang="en-GB" sz="1100" dirty="0"/>
          </a:p>
        </p:txBody>
      </p:sp>
      <p:sp>
        <p:nvSpPr>
          <p:cNvPr id="39" name="TextBox 38"/>
          <p:cNvSpPr txBox="1"/>
          <p:nvPr/>
        </p:nvSpPr>
        <p:spPr>
          <a:xfrm flipH="1">
            <a:off x="4131714" y="665268"/>
            <a:ext cx="1499024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lv-LV" sz="1100" dirty="0"/>
              <a:t>Ieguvumi no risinājuma</a:t>
            </a:r>
            <a:endParaRPr lang="en-GB" sz="1100" dirty="0"/>
          </a:p>
        </p:txBody>
      </p:sp>
      <p:sp>
        <p:nvSpPr>
          <p:cNvPr id="40" name="TextBox 39"/>
          <p:cNvSpPr txBox="1"/>
          <p:nvPr/>
        </p:nvSpPr>
        <p:spPr>
          <a:xfrm>
            <a:off x="4177141" y="1404083"/>
            <a:ext cx="1408171" cy="1877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lv-LV" sz="1100" dirty="0"/>
              <a:t>Sāpju punkti</a:t>
            </a:r>
            <a:endParaRPr lang="en-GB" sz="1100" dirty="0"/>
          </a:p>
        </p:txBody>
      </p:sp>
      <p:grpSp>
        <p:nvGrpSpPr>
          <p:cNvPr id="44" name="Group 43"/>
          <p:cNvGrpSpPr/>
          <p:nvPr/>
        </p:nvGrpSpPr>
        <p:grpSpPr>
          <a:xfrm>
            <a:off x="2832459" y="643050"/>
            <a:ext cx="758897" cy="685370"/>
            <a:chOff x="4991622" y="6907575"/>
            <a:chExt cx="283997" cy="233361"/>
          </a:xfrm>
          <a:solidFill>
            <a:schemeClr val="accent1"/>
          </a:solidFill>
        </p:grpSpPr>
        <p:sp>
          <p:nvSpPr>
            <p:cNvPr id="45" name="Freeform 196"/>
            <p:cNvSpPr>
              <a:spLocks/>
            </p:cNvSpPr>
            <p:nvPr/>
          </p:nvSpPr>
          <p:spPr bwMode="auto">
            <a:xfrm>
              <a:off x="5090691" y="6907575"/>
              <a:ext cx="77054" cy="77054"/>
            </a:xfrm>
            <a:custGeom>
              <a:avLst/>
              <a:gdLst>
                <a:gd name="T0" fmla="*/ 52 w 105"/>
                <a:gd name="T1" fmla="*/ 0 h 103"/>
                <a:gd name="T2" fmla="*/ 52 w 105"/>
                <a:gd name="T3" fmla="*/ 0 h 103"/>
                <a:gd name="T4" fmla="*/ 62 w 105"/>
                <a:gd name="T5" fmla="*/ 0 h 103"/>
                <a:gd name="T6" fmla="*/ 73 w 105"/>
                <a:gd name="T7" fmla="*/ 4 h 103"/>
                <a:gd name="T8" fmla="*/ 81 w 105"/>
                <a:gd name="T9" fmla="*/ 9 h 103"/>
                <a:gd name="T10" fmla="*/ 89 w 105"/>
                <a:gd name="T11" fmla="*/ 15 h 103"/>
                <a:gd name="T12" fmla="*/ 94 w 105"/>
                <a:gd name="T13" fmla="*/ 22 h 103"/>
                <a:gd name="T14" fmla="*/ 100 w 105"/>
                <a:gd name="T15" fmla="*/ 31 h 103"/>
                <a:gd name="T16" fmla="*/ 103 w 105"/>
                <a:gd name="T17" fmla="*/ 41 h 103"/>
                <a:gd name="T18" fmla="*/ 105 w 105"/>
                <a:gd name="T19" fmla="*/ 51 h 103"/>
                <a:gd name="T20" fmla="*/ 105 w 105"/>
                <a:gd name="T21" fmla="*/ 51 h 103"/>
                <a:gd name="T22" fmla="*/ 103 w 105"/>
                <a:gd name="T23" fmla="*/ 61 h 103"/>
                <a:gd name="T24" fmla="*/ 100 w 105"/>
                <a:gd name="T25" fmla="*/ 71 h 103"/>
                <a:gd name="T26" fmla="*/ 94 w 105"/>
                <a:gd name="T27" fmla="*/ 80 h 103"/>
                <a:gd name="T28" fmla="*/ 89 w 105"/>
                <a:gd name="T29" fmla="*/ 87 h 103"/>
                <a:gd name="T30" fmla="*/ 81 w 105"/>
                <a:gd name="T31" fmla="*/ 95 h 103"/>
                <a:gd name="T32" fmla="*/ 73 w 105"/>
                <a:gd name="T33" fmla="*/ 99 h 103"/>
                <a:gd name="T34" fmla="*/ 62 w 105"/>
                <a:gd name="T35" fmla="*/ 102 h 103"/>
                <a:gd name="T36" fmla="*/ 52 w 105"/>
                <a:gd name="T37" fmla="*/ 103 h 103"/>
                <a:gd name="T38" fmla="*/ 52 w 105"/>
                <a:gd name="T39" fmla="*/ 103 h 103"/>
                <a:gd name="T40" fmla="*/ 42 w 105"/>
                <a:gd name="T41" fmla="*/ 102 h 103"/>
                <a:gd name="T42" fmla="*/ 32 w 105"/>
                <a:gd name="T43" fmla="*/ 99 h 103"/>
                <a:gd name="T44" fmla="*/ 23 w 105"/>
                <a:gd name="T45" fmla="*/ 95 h 103"/>
                <a:gd name="T46" fmla="*/ 16 w 105"/>
                <a:gd name="T47" fmla="*/ 87 h 103"/>
                <a:gd name="T48" fmla="*/ 10 w 105"/>
                <a:gd name="T49" fmla="*/ 80 h 103"/>
                <a:gd name="T50" fmla="*/ 4 w 105"/>
                <a:gd name="T51" fmla="*/ 71 h 103"/>
                <a:gd name="T52" fmla="*/ 1 w 105"/>
                <a:gd name="T53" fmla="*/ 61 h 103"/>
                <a:gd name="T54" fmla="*/ 0 w 105"/>
                <a:gd name="T55" fmla="*/ 51 h 103"/>
                <a:gd name="T56" fmla="*/ 0 w 105"/>
                <a:gd name="T57" fmla="*/ 51 h 103"/>
                <a:gd name="T58" fmla="*/ 1 w 105"/>
                <a:gd name="T59" fmla="*/ 41 h 103"/>
                <a:gd name="T60" fmla="*/ 4 w 105"/>
                <a:gd name="T61" fmla="*/ 31 h 103"/>
                <a:gd name="T62" fmla="*/ 10 w 105"/>
                <a:gd name="T63" fmla="*/ 22 h 103"/>
                <a:gd name="T64" fmla="*/ 16 w 105"/>
                <a:gd name="T65" fmla="*/ 15 h 103"/>
                <a:gd name="T66" fmla="*/ 23 w 105"/>
                <a:gd name="T67" fmla="*/ 9 h 103"/>
                <a:gd name="T68" fmla="*/ 32 w 105"/>
                <a:gd name="T69" fmla="*/ 4 h 103"/>
                <a:gd name="T70" fmla="*/ 42 w 105"/>
                <a:gd name="T71" fmla="*/ 0 h 103"/>
                <a:gd name="T72" fmla="*/ 52 w 105"/>
                <a:gd name="T73" fmla="*/ 0 h 103"/>
                <a:gd name="T74" fmla="*/ 52 w 105"/>
                <a:gd name="T75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5" h="103">
                  <a:moveTo>
                    <a:pt x="52" y="0"/>
                  </a:moveTo>
                  <a:lnTo>
                    <a:pt x="52" y="0"/>
                  </a:lnTo>
                  <a:lnTo>
                    <a:pt x="62" y="0"/>
                  </a:lnTo>
                  <a:lnTo>
                    <a:pt x="73" y="4"/>
                  </a:lnTo>
                  <a:lnTo>
                    <a:pt x="81" y="9"/>
                  </a:lnTo>
                  <a:lnTo>
                    <a:pt x="89" y="15"/>
                  </a:lnTo>
                  <a:lnTo>
                    <a:pt x="94" y="22"/>
                  </a:lnTo>
                  <a:lnTo>
                    <a:pt x="100" y="31"/>
                  </a:lnTo>
                  <a:lnTo>
                    <a:pt x="103" y="41"/>
                  </a:lnTo>
                  <a:lnTo>
                    <a:pt x="105" y="51"/>
                  </a:lnTo>
                  <a:lnTo>
                    <a:pt x="105" y="51"/>
                  </a:lnTo>
                  <a:lnTo>
                    <a:pt x="103" y="61"/>
                  </a:lnTo>
                  <a:lnTo>
                    <a:pt x="100" y="71"/>
                  </a:lnTo>
                  <a:lnTo>
                    <a:pt x="94" y="80"/>
                  </a:lnTo>
                  <a:lnTo>
                    <a:pt x="89" y="87"/>
                  </a:lnTo>
                  <a:lnTo>
                    <a:pt x="81" y="95"/>
                  </a:lnTo>
                  <a:lnTo>
                    <a:pt x="73" y="99"/>
                  </a:lnTo>
                  <a:lnTo>
                    <a:pt x="62" y="102"/>
                  </a:lnTo>
                  <a:lnTo>
                    <a:pt x="52" y="103"/>
                  </a:lnTo>
                  <a:lnTo>
                    <a:pt x="52" y="103"/>
                  </a:lnTo>
                  <a:lnTo>
                    <a:pt x="42" y="102"/>
                  </a:lnTo>
                  <a:lnTo>
                    <a:pt x="32" y="99"/>
                  </a:lnTo>
                  <a:lnTo>
                    <a:pt x="23" y="95"/>
                  </a:lnTo>
                  <a:lnTo>
                    <a:pt x="16" y="87"/>
                  </a:lnTo>
                  <a:lnTo>
                    <a:pt x="10" y="80"/>
                  </a:lnTo>
                  <a:lnTo>
                    <a:pt x="4" y="71"/>
                  </a:lnTo>
                  <a:lnTo>
                    <a:pt x="1" y="6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" y="41"/>
                  </a:lnTo>
                  <a:lnTo>
                    <a:pt x="4" y="31"/>
                  </a:lnTo>
                  <a:lnTo>
                    <a:pt x="10" y="22"/>
                  </a:lnTo>
                  <a:lnTo>
                    <a:pt x="16" y="15"/>
                  </a:lnTo>
                  <a:lnTo>
                    <a:pt x="23" y="9"/>
                  </a:lnTo>
                  <a:lnTo>
                    <a:pt x="32" y="4"/>
                  </a:lnTo>
                  <a:lnTo>
                    <a:pt x="42" y="0"/>
                  </a:lnTo>
                  <a:lnTo>
                    <a:pt x="52" y="0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/>
            </a:p>
          </p:txBody>
        </p:sp>
        <p:sp>
          <p:nvSpPr>
            <p:cNvPr id="46" name="Freeform 197"/>
            <p:cNvSpPr>
              <a:spLocks/>
            </p:cNvSpPr>
            <p:nvPr/>
          </p:nvSpPr>
          <p:spPr bwMode="auto">
            <a:xfrm>
              <a:off x="4996025" y="6956008"/>
              <a:ext cx="57240" cy="57240"/>
            </a:xfrm>
            <a:custGeom>
              <a:avLst/>
              <a:gdLst>
                <a:gd name="T0" fmla="*/ 37 w 77"/>
                <a:gd name="T1" fmla="*/ 0 h 77"/>
                <a:gd name="T2" fmla="*/ 37 w 77"/>
                <a:gd name="T3" fmla="*/ 0 h 77"/>
                <a:gd name="T4" fmla="*/ 46 w 77"/>
                <a:gd name="T5" fmla="*/ 1 h 77"/>
                <a:gd name="T6" fmla="*/ 53 w 77"/>
                <a:gd name="T7" fmla="*/ 2 h 77"/>
                <a:gd name="T8" fmla="*/ 59 w 77"/>
                <a:gd name="T9" fmla="*/ 7 h 77"/>
                <a:gd name="T10" fmla="*/ 65 w 77"/>
                <a:gd name="T11" fmla="*/ 11 h 77"/>
                <a:gd name="T12" fmla="*/ 69 w 77"/>
                <a:gd name="T13" fmla="*/ 17 h 77"/>
                <a:gd name="T14" fmla="*/ 74 w 77"/>
                <a:gd name="T15" fmla="*/ 23 h 77"/>
                <a:gd name="T16" fmla="*/ 75 w 77"/>
                <a:gd name="T17" fmla="*/ 30 h 77"/>
                <a:gd name="T18" fmla="*/ 77 w 77"/>
                <a:gd name="T19" fmla="*/ 39 h 77"/>
                <a:gd name="T20" fmla="*/ 77 w 77"/>
                <a:gd name="T21" fmla="*/ 39 h 77"/>
                <a:gd name="T22" fmla="*/ 75 w 77"/>
                <a:gd name="T23" fmla="*/ 46 h 77"/>
                <a:gd name="T24" fmla="*/ 74 w 77"/>
                <a:gd name="T25" fmla="*/ 53 h 77"/>
                <a:gd name="T26" fmla="*/ 69 w 77"/>
                <a:gd name="T27" fmla="*/ 59 h 77"/>
                <a:gd name="T28" fmla="*/ 65 w 77"/>
                <a:gd name="T29" fmla="*/ 65 h 77"/>
                <a:gd name="T30" fmla="*/ 59 w 77"/>
                <a:gd name="T31" fmla="*/ 71 h 77"/>
                <a:gd name="T32" fmla="*/ 53 w 77"/>
                <a:gd name="T33" fmla="*/ 74 h 77"/>
                <a:gd name="T34" fmla="*/ 46 w 77"/>
                <a:gd name="T35" fmla="*/ 77 h 77"/>
                <a:gd name="T36" fmla="*/ 37 w 77"/>
                <a:gd name="T37" fmla="*/ 77 h 77"/>
                <a:gd name="T38" fmla="*/ 37 w 77"/>
                <a:gd name="T39" fmla="*/ 77 h 77"/>
                <a:gd name="T40" fmla="*/ 30 w 77"/>
                <a:gd name="T41" fmla="*/ 77 h 77"/>
                <a:gd name="T42" fmla="*/ 23 w 77"/>
                <a:gd name="T43" fmla="*/ 74 h 77"/>
                <a:gd name="T44" fmla="*/ 17 w 77"/>
                <a:gd name="T45" fmla="*/ 71 h 77"/>
                <a:gd name="T46" fmla="*/ 11 w 77"/>
                <a:gd name="T47" fmla="*/ 65 h 77"/>
                <a:gd name="T48" fmla="*/ 5 w 77"/>
                <a:gd name="T49" fmla="*/ 59 h 77"/>
                <a:gd name="T50" fmla="*/ 2 w 77"/>
                <a:gd name="T51" fmla="*/ 53 h 77"/>
                <a:gd name="T52" fmla="*/ 0 w 77"/>
                <a:gd name="T53" fmla="*/ 46 h 77"/>
                <a:gd name="T54" fmla="*/ 0 w 77"/>
                <a:gd name="T55" fmla="*/ 39 h 77"/>
                <a:gd name="T56" fmla="*/ 0 w 77"/>
                <a:gd name="T57" fmla="*/ 39 h 77"/>
                <a:gd name="T58" fmla="*/ 0 w 77"/>
                <a:gd name="T59" fmla="*/ 30 h 77"/>
                <a:gd name="T60" fmla="*/ 2 w 77"/>
                <a:gd name="T61" fmla="*/ 23 h 77"/>
                <a:gd name="T62" fmla="*/ 5 w 77"/>
                <a:gd name="T63" fmla="*/ 17 h 77"/>
                <a:gd name="T64" fmla="*/ 11 w 77"/>
                <a:gd name="T65" fmla="*/ 11 h 77"/>
                <a:gd name="T66" fmla="*/ 17 w 77"/>
                <a:gd name="T67" fmla="*/ 7 h 77"/>
                <a:gd name="T68" fmla="*/ 23 w 77"/>
                <a:gd name="T69" fmla="*/ 2 h 77"/>
                <a:gd name="T70" fmla="*/ 30 w 77"/>
                <a:gd name="T71" fmla="*/ 1 h 77"/>
                <a:gd name="T72" fmla="*/ 37 w 77"/>
                <a:gd name="T73" fmla="*/ 0 h 77"/>
                <a:gd name="T74" fmla="*/ 37 w 77"/>
                <a:gd name="T75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7" h="77">
                  <a:moveTo>
                    <a:pt x="37" y="0"/>
                  </a:moveTo>
                  <a:lnTo>
                    <a:pt x="37" y="0"/>
                  </a:lnTo>
                  <a:lnTo>
                    <a:pt x="46" y="1"/>
                  </a:lnTo>
                  <a:lnTo>
                    <a:pt x="53" y="2"/>
                  </a:lnTo>
                  <a:lnTo>
                    <a:pt x="59" y="7"/>
                  </a:lnTo>
                  <a:lnTo>
                    <a:pt x="65" y="11"/>
                  </a:lnTo>
                  <a:lnTo>
                    <a:pt x="69" y="17"/>
                  </a:lnTo>
                  <a:lnTo>
                    <a:pt x="74" y="23"/>
                  </a:lnTo>
                  <a:lnTo>
                    <a:pt x="75" y="30"/>
                  </a:lnTo>
                  <a:lnTo>
                    <a:pt x="77" y="39"/>
                  </a:lnTo>
                  <a:lnTo>
                    <a:pt x="77" y="39"/>
                  </a:lnTo>
                  <a:lnTo>
                    <a:pt x="75" y="46"/>
                  </a:lnTo>
                  <a:lnTo>
                    <a:pt x="74" y="53"/>
                  </a:lnTo>
                  <a:lnTo>
                    <a:pt x="69" y="59"/>
                  </a:lnTo>
                  <a:lnTo>
                    <a:pt x="65" y="65"/>
                  </a:lnTo>
                  <a:lnTo>
                    <a:pt x="59" y="71"/>
                  </a:lnTo>
                  <a:lnTo>
                    <a:pt x="53" y="74"/>
                  </a:lnTo>
                  <a:lnTo>
                    <a:pt x="46" y="77"/>
                  </a:lnTo>
                  <a:lnTo>
                    <a:pt x="37" y="77"/>
                  </a:lnTo>
                  <a:lnTo>
                    <a:pt x="37" y="77"/>
                  </a:lnTo>
                  <a:lnTo>
                    <a:pt x="30" y="77"/>
                  </a:lnTo>
                  <a:lnTo>
                    <a:pt x="23" y="74"/>
                  </a:lnTo>
                  <a:lnTo>
                    <a:pt x="17" y="71"/>
                  </a:lnTo>
                  <a:lnTo>
                    <a:pt x="11" y="65"/>
                  </a:lnTo>
                  <a:lnTo>
                    <a:pt x="5" y="59"/>
                  </a:lnTo>
                  <a:lnTo>
                    <a:pt x="2" y="53"/>
                  </a:lnTo>
                  <a:lnTo>
                    <a:pt x="0" y="46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0"/>
                  </a:lnTo>
                  <a:lnTo>
                    <a:pt x="2" y="23"/>
                  </a:lnTo>
                  <a:lnTo>
                    <a:pt x="5" y="17"/>
                  </a:lnTo>
                  <a:lnTo>
                    <a:pt x="11" y="11"/>
                  </a:lnTo>
                  <a:lnTo>
                    <a:pt x="17" y="7"/>
                  </a:lnTo>
                  <a:lnTo>
                    <a:pt x="23" y="2"/>
                  </a:lnTo>
                  <a:lnTo>
                    <a:pt x="30" y="1"/>
                  </a:lnTo>
                  <a:lnTo>
                    <a:pt x="37" y="0"/>
                  </a:lnTo>
                  <a:lnTo>
                    <a:pt x="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/>
            </a:p>
          </p:txBody>
        </p:sp>
        <p:sp>
          <p:nvSpPr>
            <p:cNvPr id="47" name="Freeform 198"/>
            <p:cNvSpPr>
              <a:spLocks/>
            </p:cNvSpPr>
            <p:nvPr/>
          </p:nvSpPr>
          <p:spPr bwMode="auto">
            <a:xfrm>
              <a:off x="5213977" y="6956008"/>
              <a:ext cx="57240" cy="57240"/>
            </a:xfrm>
            <a:custGeom>
              <a:avLst/>
              <a:gdLst>
                <a:gd name="T0" fmla="*/ 38 w 77"/>
                <a:gd name="T1" fmla="*/ 0 h 77"/>
                <a:gd name="T2" fmla="*/ 38 w 77"/>
                <a:gd name="T3" fmla="*/ 0 h 77"/>
                <a:gd name="T4" fmla="*/ 45 w 77"/>
                <a:gd name="T5" fmla="*/ 1 h 77"/>
                <a:gd name="T6" fmla="*/ 53 w 77"/>
                <a:gd name="T7" fmla="*/ 2 h 77"/>
                <a:gd name="T8" fmla="*/ 60 w 77"/>
                <a:gd name="T9" fmla="*/ 7 h 77"/>
                <a:gd name="T10" fmla="*/ 66 w 77"/>
                <a:gd name="T11" fmla="*/ 11 h 77"/>
                <a:gd name="T12" fmla="*/ 70 w 77"/>
                <a:gd name="T13" fmla="*/ 17 h 77"/>
                <a:gd name="T14" fmla="*/ 73 w 77"/>
                <a:gd name="T15" fmla="*/ 23 h 77"/>
                <a:gd name="T16" fmla="*/ 76 w 77"/>
                <a:gd name="T17" fmla="*/ 30 h 77"/>
                <a:gd name="T18" fmla="*/ 77 w 77"/>
                <a:gd name="T19" fmla="*/ 39 h 77"/>
                <a:gd name="T20" fmla="*/ 77 w 77"/>
                <a:gd name="T21" fmla="*/ 39 h 77"/>
                <a:gd name="T22" fmla="*/ 76 w 77"/>
                <a:gd name="T23" fmla="*/ 46 h 77"/>
                <a:gd name="T24" fmla="*/ 73 w 77"/>
                <a:gd name="T25" fmla="*/ 53 h 77"/>
                <a:gd name="T26" fmla="*/ 70 w 77"/>
                <a:gd name="T27" fmla="*/ 59 h 77"/>
                <a:gd name="T28" fmla="*/ 66 w 77"/>
                <a:gd name="T29" fmla="*/ 65 h 77"/>
                <a:gd name="T30" fmla="*/ 60 w 77"/>
                <a:gd name="T31" fmla="*/ 71 h 77"/>
                <a:gd name="T32" fmla="*/ 53 w 77"/>
                <a:gd name="T33" fmla="*/ 74 h 77"/>
                <a:gd name="T34" fmla="*/ 45 w 77"/>
                <a:gd name="T35" fmla="*/ 77 h 77"/>
                <a:gd name="T36" fmla="*/ 38 w 77"/>
                <a:gd name="T37" fmla="*/ 77 h 77"/>
                <a:gd name="T38" fmla="*/ 38 w 77"/>
                <a:gd name="T39" fmla="*/ 77 h 77"/>
                <a:gd name="T40" fmla="*/ 31 w 77"/>
                <a:gd name="T41" fmla="*/ 77 h 77"/>
                <a:gd name="T42" fmla="*/ 23 w 77"/>
                <a:gd name="T43" fmla="*/ 74 h 77"/>
                <a:gd name="T44" fmla="*/ 16 w 77"/>
                <a:gd name="T45" fmla="*/ 71 h 77"/>
                <a:gd name="T46" fmla="*/ 10 w 77"/>
                <a:gd name="T47" fmla="*/ 65 h 77"/>
                <a:gd name="T48" fmla="*/ 6 w 77"/>
                <a:gd name="T49" fmla="*/ 59 h 77"/>
                <a:gd name="T50" fmla="*/ 3 w 77"/>
                <a:gd name="T51" fmla="*/ 53 h 77"/>
                <a:gd name="T52" fmla="*/ 0 w 77"/>
                <a:gd name="T53" fmla="*/ 46 h 77"/>
                <a:gd name="T54" fmla="*/ 0 w 77"/>
                <a:gd name="T55" fmla="*/ 39 h 77"/>
                <a:gd name="T56" fmla="*/ 0 w 77"/>
                <a:gd name="T57" fmla="*/ 39 h 77"/>
                <a:gd name="T58" fmla="*/ 0 w 77"/>
                <a:gd name="T59" fmla="*/ 30 h 77"/>
                <a:gd name="T60" fmla="*/ 3 w 77"/>
                <a:gd name="T61" fmla="*/ 23 h 77"/>
                <a:gd name="T62" fmla="*/ 6 w 77"/>
                <a:gd name="T63" fmla="*/ 17 h 77"/>
                <a:gd name="T64" fmla="*/ 10 w 77"/>
                <a:gd name="T65" fmla="*/ 11 h 77"/>
                <a:gd name="T66" fmla="*/ 16 w 77"/>
                <a:gd name="T67" fmla="*/ 7 h 77"/>
                <a:gd name="T68" fmla="*/ 23 w 77"/>
                <a:gd name="T69" fmla="*/ 2 h 77"/>
                <a:gd name="T70" fmla="*/ 31 w 77"/>
                <a:gd name="T71" fmla="*/ 1 h 77"/>
                <a:gd name="T72" fmla="*/ 38 w 77"/>
                <a:gd name="T73" fmla="*/ 0 h 77"/>
                <a:gd name="T74" fmla="*/ 38 w 77"/>
                <a:gd name="T75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7" h="77">
                  <a:moveTo>
                    <a:pt x="38" y="0"/>
                  </a:moveTo>
                  <a:lnTo>
                    <a:pt x="38" y="0"/>
                  </a:lnTo>
                  <a:lnTo>
                    <a:pt x="45" y="1"/>
                  </a:lnTo>
                  <a:lnTo>
                    <a:pt x="53" y="2"/>
                  </a:lnTo>
                  <a:lnTo>
                    <a:pt x="60" y="7"/>
                  </a:lnTo>
                  <a:lnTo>
                    <a:pt x="66" y="11"/>
                  </a:lnTo>
                  <a:lnTo>
                    <a:pt x="70" y="17"/>
                  </a:lnTo>
                  <a:lnTo>
                    <a:pt x="73" y="23"/>
                  </a:lnTo>
                  <a:lnTo>
                    <a:pt x="76" y="30"/>
                  </a:lnTo>
                  <a:lnTo>
                    <a:pt x="77" y="39"/>
                  </a:lnTo>
                  <a:lnTo>
                    <a:pt x="77" y="39"/>
                  </a:lnTo>
                  <a:lnTo>
                    <a:pt x="76" y="46"/>
                  </a:lnTo>
                  <a:lnTo>
                    <a:pt x="73" y="53"/>
                  </a:lnTo>
                  <a:lnTo>
                    <a:pt x="70" y="59"/>
                  </a:lnTo>
                  <a:lnTo>
                    <a:pt x="66" y="65"/>
                  </a:lnTo>
                  <a:lnTo>
                    <a:pt x="60" y="71"/>
                  </a:lnTo>
                  <a:lnTo>
                    <a:pt x="53" y="74"/>
                  </a:lnTo>
                  <a:lnTo>
                    <a:pt x="45" y="77"/>
                  </a:lnTo>
                  <a:lnTo>
                    <a:pt x="38" y="77"/>
                  </a:lnTo>
                  <a:lnTo>
                    <a:pt x="38" y="77"/>
                  </a:lnTo>
                  <a:lnTo>
                    <a:pt x="31" y="77"/>
                  </a:lnTo>
                  <a:lnTo>
                    <a:pt x="23" y="74"/>
                  </a:lnTo>
                  <a:lnTo>
                    <a:pt x="16" y="71"/>
                  </a:lnTo>
                  <a:lnTo>
                    <a:pt x="10" y="65"/>
                  </a:lnTo>
                  <a:lnTo>
                    <a:pt x="6" y="59"/>
                  </a:lnTo>
                  <a:lnTo>
                    <a:pt x="3" y="53"/>
                  </a:lnTo>
                  <a:lnTo>
                    <a:pt x="0" y="46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0"/>
                  </a:lnTo>
                  <a:lnTo>
                    <a:pt x="3" y="23"/>
                  </a:lnTo>
                  <a:lnTo>
                    <a:pt x="6" y="17"/>
                  </a:lnTo>
                  <a:lnTo>
                    <a:pt x="10" y="11"/>
                  </a:lnTo>
                  <a:lnTo>
                    <a:pt x="16" y="7"/>
                  </a:lnTo>
                  <a:lnTo>
                    <a:pt x="23" y="2"/>
                  </a:lnTo>
                  <a:lnTo>
                    <a:pt x="31" y="1"/>
                  </a:lnTo>
                  <a:lnTo>
                    <a:pt x="38" y="0"/>
                  </a:lnTo>
                  <a:lnTo>
                    <a:pt x="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/>
            </a:p>
          </p:txBody>
        </p:sp>
        <p:sp>
          <p:nvSpPr>
            <p:cNvPr id="48" name="Freeform 199"/>
            <p:cNvSpPr>
              <a:spLocks noEditPoints="1"/>
            </p:cNvSpPr>
            <p:nvPr/>
          </p:nvSpPr>
          <p:spPr bwMode="auto">
            <a:xfrm>
              <a:off x="4991622" y="7006643"/>
              <a:ext cx="283997" cy="134293"/>
            </a:xfrm>
            <a:custGeom>
              <a:avLst/>
              <a:gdLst>
                <a:gd name="T0" fmla="*/ 0 w 387"/>
                <a:gd name="T1" fmla="*/ 182 h 182"/>
                <a:gd name="T2" fmla="*/ 0 w 387"/>
                <a:gd name="T3" fmla="*/ 59 h 182"/>
                <a:gd name="T4" fmla="*/ 0 w 387"/>
                <a:gd name="T5" fmla="*/ 59 h 182"/>
                <a:gd name="T6" fmla="*/ 21 w 387"/>
                <a:gd name="T7" fmla="*/ 51 h 182"/>
                <a:gd name="T8" fmla="*/ 42 w 387"/>
                <a:gd name="T9" fmla="*/ 48 h 182"/>
                <a:gd name="T10" fmla="*/ 66 w 387"/>
                <a:gd name="T11" fmla="*/ 47 h 182"/>
                <a:gd name="T12" fmla="*/ 87 w 387"/>
                <a:gd name="T13" fmla="*/ 50 h 182"/>
                <a:gd name="T14" fmla="*/ 87 w 387"/>
                <a:gd name="T15" fmla="*/ 182 h 182"/>
                <a:gd name="T16" fmla="*/ 0 w 387"/>
                <a:gd name="T17" fmla="*/ 182 h 182"/>
                <a:gd name="T18" fmla="*/ 117 w 387"/>
                <a:gd name="T19" fmla="*/ 182 h 182"/>
                <a:gd name="T20" fmla="*/ 117 w 387"/>
                <a:gd name="T21" fmla="*/ 15 h 182"/>
                <a:gd name="T22" fmla="*/ 117 w 387"/>
                <a:gd name="T23" fmla="*/ 15 h 182"/>
                <a:gd name="T24" fmla="*/ 134 w 387"/>
                <a:gd name="T25" fmla="*/ 8 h 182"/>
                <a:gd name="T26" fmla="*/ 153 w 387"/>
                <a:gd name="T27" fmla="*/ 3 h 182"/>
                <a:gd name="T28" fmla="*/ 173 w 387"/>
                <a:gd name="T29" fmla="*/ 0 h 182"/>
                <a:gd name="T30" fmla="*/ 194 w 387"/>
                <a:gd name="T31" fmla="*/ 0 h 182"/>
                <a:gd name="T32" fmla="*/ 194 w 387"/>
                <a:gd name="T33" fmla="*/ 0 h 182"/>
                <a:gd name="T34" fmla="*/ 214 w 387"/>
                <a:gd name="T35" fmla="*/ 0 h 182"/>
                <a:gd name="T36" fmla="*/ 234 w 387"/>
                <a:gd name="T37" fmla="*/ 3 h 182"/>
                <a:gd name="T38" fmla="*/ 253 w 387"/>
                <a:gd name="T39" fmla="*/ 9 h 182"/>
                <a:gd name="T40" fmla="*/ 271 w 387"/>
                <a:gd name="T41" fmla="*/ 15 h 182"/>
                <a:gd name="T42" fmla="*/ 271 w 387"/>
                <a:gd name="T43" fmla="*/ 182 h 182"/>
                <a:gd name="T44" fmla="*/ 117 w 387"/>
                <a:gd name="T45" fmla="*/ 182 h 182"/>
                <a:gd name="T46" fmla="*/ 387 w 387"/>
                <a:gd name="T47" fmla="*/ 182 h 182"/>
                <a:gd name="T48" fmla="*/ 300 w 387"/>
                <a:gd name="T49" fmla="*/ 182 h 182"/>
                <a:gd name="T50" fmla="*/ 300 w 387"/>
                <a:gd name="T51" fmla="*/ 50 h 182"/>
                <a:gd name="T52" fmla="*/ 300 w 387"/>
                <a:gd name="T53" fmla="*/ 50 h 182"/>
                <a:gd name="T54" fmla="*/ 323 w 387"/>
                <a:gd name="T55" fmla="*/ 47 h 182"/>
                <a:gd name="T56" fmla="*/ 345 w 387"/>
                <a:gd name="T57" fmla="*/ 48 h 182"/>
                <a:gd name="T58" fmla="*/ 367 w 387"/>
                <a:gd name="T59" fmla="*/ 51 h 182"/>
                <a:gd name="T60" fmla="*/ 387 w 387"/>
                <a:gd name="T61" fmla="*/ 59 h 182"/>
                <a:gd name="T62" fmla="*/ 387 w 387"/>
                <a:gd name="T63" fmla="*/ 182 h 1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387" h="182">
                  <a:moveTo>
                    <a:pt x="0" y="182"/>
                  </a:moveTo>
                  <a:lnTo>
                    <a:pt x="0" y="59"/>
                  </a:lnTo>
                  <a:lnTo>
                    <a:pt x="0" y="59"/>
                  </a:lnTo>
                  <a:lnTo>
                    <a:pt x="21" y="51"/>
                  </a:lnTo>
                  <a:lnTo>
                    <a:pt x="42" y="48"/>
                  </a:lnTo>
                  <a:lnTo>
                    <a:pt x="66" y="47"/>
                  </a:lnTo>
                  <a:lnTo>
                    <a:pt x="87" y="50"/>
                  </a:lnTo>
                  <a:lnTo>
                    <a:pt x="87" y="182"/>
                  </a:lnTo>
                  <a:lnTo>
                    <a:pt x="0" y="182"/>
                  </a:lnTo>
                  <a:close/>
                  <a:moveTo>
                    <a:pt x="117" y="182"/>
                  </a:moveTo>
                  <a:lnTo>
                    <a:pt x="117" y="15"/>
                  </a:lnTo>
                  <a:lnTo>
                    <a:pt x="117" y="15"/>
                  </a:lnTo>
                  <a:lnTo>
                    <a:pt x="134" y="8"/>
                  </a:lnTo>
                  <a:lnTo>
                    <a:pt x="153" y="3"/>
                  </a:lnTo>
                  <a:lnTo>
                    <a:pt x="173" y="0"/>
                  </a:lnTo>
                  <a:lnTo>
                    <a:pt x="194" y="0"/>
                  </a:lnTo>
                  <a:lnTo>
                    <a:pt x="194" y="0"/>
                  </a:lnTo>
                  <a:lnTo>
                    <a:pt x="214" y="0"/>
                  </a:lnTo>
                  <a:lnTo>
                    <a:pt x="234" y="3"/>
                  </a:lnTo>
                  <a:lnTo>
                    <a:pt x="253" y="9"/>
                  </a:lnTo>
                  <a:lnTo>
                    <a:pt x="271" y="15"/>
                  </a:lnTo>
                  <a:lnTo>
                    <a:pt x="271" y="182"/>
                  </a:lnTo>
                  <a:lnTo>
                    <a:pt x="117" y="182"/>
                  </a:lnTo>
                  <a:close/>
                  <a:moveTo>
                    <a:pt x="387" y="182"/>
                  </a:moveTo>
                  <a:lnTo>
                    <a:pt x="300" y="182"/>
                  </a:lnTo>
                  <a:lnTo>
                    <a:pt x="300" y="50"/>
                  </a:lnTo>
                  <a:lnTo>
                    <a:pt x="300" y="50"/>
                  </a:lnTo>
                  <a:lnTo>
                    <a:pt x="323" y="47"/>
                  </a:lnTo>
                  <a:lnTo>
                    <a:pt x="345" y="48"/>
                  </a:lnTo>
                  <a:lnTo>
                    <a:pt x="367" y="51"/>
                  </a:lnTo>
                  <a:lnTo>
                    <a:pt x="387" y="59"/>
                  </a:lnTo>
                  <a:lnTo>
                    <a:pt x="387" y="18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100"/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9957345" y="441260"/>
            <a:ext cx="2655433" cy="1319692"/>
            <a:chOff x="9354425" y="2103438"/>
            <a:chExt cx="2394663" cy="1190095"/>
          </a:xfrm>
        </p:grpSpPr>
        <p:cxnSp>
          <p:nvCxnSpPr>
            <p:cNvPr id="3" name="Straight Connector 2"/>
            <p:cNvCxnSpPr/>
            <p:nvPr/>
          </p:nvCxnSpPr>
          <p:spPr>
            <a:xfrm flipH="1" flipV="1">
              <a:off x="9354425" y="2703545"/>
              <a:ext cx="2394663" cy="589988"/>
            </a:xfrm>
            <a:prstGeom prst="line">
              <a:avLst/>
            </a:prstGeom>
            <a:ln w="3175" cap="sq">
              <a:solidFill>
                <a:schemeClr val="bg1">
                  <a:lumMod val="6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  <p:cxnSp>
          <p:nvCxnSpPr>
            <p:cNvPr id="4" name="Straight Connector 3"/>
            <p:cNvCxnSpPr/>
            <p:nvPr/>
          </p:nvCxnSpPr>
          <p:spPr>
            <a:xfrm flipH="1">
              <a:off x="9354425" y="2103438"/>
              <a:ext cx="2394663" cy="589988"/>
            </a:xfrm>
            <a:prstGeom prst="line">
              <a:avLst/>
            </a:prstGeom>
            <a:ln w="3175" cap="sq">
              <a:solidFill>
                <a:schemeClr val="bg1">
                  <a:lumMod val="65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</p:cxnSp>
      </p:grpSp>
      <p:sp>
        <p:nvSpPr>
          <p:cNvPr id="17" name="Rectangle 16"/>
          <p:cNvSpPr/>
          <p:nvPr/>
        </p:nvSpPr>
        <p:spPr>
          <a:xfrm>
            <a:off x="6543012" y="441260"/>
            <a:ext cx="6069766" cy="1319692"/>
          </a:xfrm>
          <a:prstGeom prst="rect">
            <a:avLst/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100"/>
          </a:p>
        </p:txBody>
      </p:sp>
      <p:cxnSp>
        <p:nvCxnSpPr>
          <p:cNvPr id="37" name="Straight Arrow Connector 36"/>
          <p:cNvCxnSpPr/>
          <p:nvPr/>
        </p:nvCxnSpPr>
        <p:spPr>
          <a:xfrm flipH="1">
            <a:off x="6618709" y="1102357"/>
            <a:ext cx="2579738" cy="0"/>
          </a:xfrm>
          <a:prstGeom prst="straightConnector1">
            <a:avLst/>
          </a:prstGeom>
          <a:ln w="3175" cap="sq"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</p:cxnSp>
      <p:sp>
        <p:nvSpPr>
          <p:cNvPr id="41" name="TextBox 40"/>
          <p:cNvSpPr txBox="1"/>
          <p:nvPr/>
        </p:nvSpPr>
        <p:spPr>
          <a:xfrm flipH="1">
            <a:off x="6957420" y="646834"/>
            <a:ext cx="1902314" cy="1877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lv-LV" sz="1100" dirty="0"/>
              <a:t>Ieguvuma radītāji </a:t>
            </a:r>
            <a:endParaRPr lang="en-GB" sz="1100" dirty="0"/>
          </a:p>
        </p:txBody>
      </p:sp>
      <p:sp>
        <p:nvSpPr>
          <p:cNvPr id="42" name="TextBox 41"/>
          <p:cNvSpPr txBox="1"/>
          <p:nvPr/>
        </p:nvSpPr>
        <p:spPr>
          <a:xfrm flipH="1">
            <a:off x="6957420" y="1404083"/>
            <a:ext cx="1902314" cy="1877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lv-LV" sz="1100" dirty="0"/>
              <a:t>Sāpju atvieglotāji </a:t>
            </a:r>
            <a:endParaRPr lang="en-GB" sz="1100" dirty="0"/>
          </a:p>
        </p:txBody>
      </p:sp>
      <p:sp>
        <p:nvSpPr>
          <p:cNvPr id="43" name="TextBox 42"/>
          <p:cNvSpPr txBox="1"/>
          <p:nvPr/>
        </p:nvSpPr>
        <p:spPr>
          <a:xfrm flipH="1">
            <a:off x="11430000" y="863554"/>
            <a:ext cx="1112828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lv-LV" sz="1100" dirty="0"/>
              <a:t>Risinājums / pakalpojums/</a:t>
            </a:r>
            <a:br>
              <a:rPr lang="en-GB" sz="1100" dirty="0"/>
            </a:br>
            <a:r>
              <a:rPr lang="lv-LV" sz="1100" dirty="0"/>
              <a:t>produkts </a:t>
            </a:r>
            <a:endParaRPr lang="en-GB" sz="1100" dirty="0"/>
          </a:p>
        </p:txBody>
      </p:sp>
      <p:sp>
        <p:nvSpPr>
          <p:cNvPr id="49" name="Freeform 91"/>
          <p:cNvSpPr>
            <a:spLocks noChangeAspect="1" noEditPoints="1"/>
          </p:cNvSpPr>
          <p:nvPr/>
        </p:nvSpPr>
        <p:spPr bwMode="auto">
          <a:xfrm>
            <a:off x="9210805" y="734015"/>
            <a:ext cx="734180" cy="734180"/>
          </a:xfrm>
          <a:custGeom>
            <a:avLst/>
            <a:gdLst>
              <a:gd name="T0" fmla="*/ 100 w 200"/>
              <a:gd name="T1" fmla="*/ 0 h 200"/>
              <a:gd name="T2" fmla="*/ 0 w 200"/>
              <a:gd name="T3" fmla="*/ 100 h 200"/>
              <a:gd name="T4" fmla="*/ 28 w 200"/>
              <a:gd name="T5" fmla="*/ 170 h 200"/>
              <a:gd name="T6" fmla="*/ 100 w 200"/>
              <a:gd name="T7" fmla="*/ 200 h 200"/>
              <a:gd name="T8" fmla="*/ 171 w 200"/>
              <a:gd name="T9" fmla="*/ 170 h 200"/>
              <a:gd name="T10" fmla="*/ 200 w 200"/>
              <a:gd name="T11" fmla="*/ 100 h 200"/>
              <a:gd name="T12" fmla="*/ 100 w 200"/>
              <a:gd name="T13" fmla="*/ 0 h 200"/>
              <a:gd name="T14" fmla="*/ 149 w 200"/>
              <a:gd name="T15" fmla="*/ 156 h 200"/>
              <a:gd name="T16" fmla="*/ 100 w 200"/>
              <a:gd name="T17" fmla="*/ 147 h 200"/>
              <a:gd name="T18" fmla="*/ 50 w 200"/>
              <a:gd name="T19" fmla="*/ 156 h 200"/>
              <a:gd name="T20" fmla="*/ 25 w 200"/>
              <a:gd name="T21" fmla="*/ 100 h 200"/>
              <a:gd name="T22" fmla="*/ 100 w 200"/>
              <a:gd name="T23" fmla="*/ 25 h 200"/>
              <a:gd name="T24" fmla="*/ 175 w 200"/>
              <a:gd name="T25" fmla="*/ 100 h 200"/>
              <a:gd name="T26" fmla="*/ 149 w 200"/>
              <a:gd name="T27" fmla="*/ 156 h 200"/>
              <a:gd name="T28" fmla="*/ 100 w 200"/>
              <a:gd name="T29" fmla="*/ 55 h 200"/>
              <a:gd name="T30" fmla="*/ 67 w 200"/>
              <a:gd name="T31" fmla="*/ 88 h 200"/>
              <a:gd name="T32" fmla="*/ 100 w 200"/>
              <a:gd name="T33" fmla="*/ 121 h 200"/>
              <a:gd name="T34" fmla="*/ 133 w 200"/>
              <a:gd name="T35" fmla="*/ 88 h 200"/>
              <a:gd name="T36" fmla="*/ 100 w 200"/>
              <a:gd name="T37" fmla="*/ 55 h 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200" h="200">
                <a:moveTo>
                  <a:pt x="100" y="0"/>
                </a:moveTo>
                <a:cubicBezTo>
                  <a:pt x="44" y="0"/>
                  <a:pt x="0" y="45"/>
                  <a:pt x="0" y="100"/>
                </a:cubicBezTo>
                <a:cubicBezTo>
                  <a:pt x="0" y="128"/>
                  <a:pt x="10" y="152"/>
                  <a:pt x="28" y="170"/>
                </a:cubicBezTo>
                <a:cubicBezTo>
                  <a:pt x="46" y="189"/>
                  <a:pt x="72" y="200"/>
                  <a:pt x="100" y="200"/>
                </a:cubicBezTo>
                <a:cubicBezTo>
                  <a:pt x="128" y="200"/>
                  <a:pt x="153" y="189"/>
                  <a:pt x="171" y="170"/>
                </a:cubicBezTo>
                <a:cubicBezTo>
                  <a:pt x="189" y="152"/>
                  <a:pt x="200" y="128"/>
                  <a:pt x="200" y="100"/>
                </a:cubicBezTo>
                <a:cubicBezTo>
                  <a:pt x="200" y="45"/>
                  <a:pt x="155" y="0"/>
                  <a:pt x="100" y="0"/>
                </a:cubicBezTo>
                <a:close/>
                <a:moveTo>
                  <a:pt x="149" y="156"/>
                </a:moveTo>
                <a:cubicBezTo>
                  <a:pt x="135" y="150"/>
                  <a:pt x="118" y="147"/>
                  <a:pt x="100" y="147"/>
                </a:cubicBezTo>
                <a:cubicBezTo>
                  <a:pt x="81" y="147"/>
                  <a:pt x="64" y="150"/>
                  <a:pt x="50" y="156"/>
                </a:cubicBezTo>
                <a:cubicBezTo>
                  <a:pt x="34" y="143"/>
                  <a:pt x="25" y="123"/>
                  <a:pt x="25" y="100"/>
                </a:cubicBezTo>
                <a:cubicBezTo>
                  <a:pt x="25" y="59"/>
                  <a:pt x="58" y="25"/>
                  <a:pt x="100" y="25"/>
                </a:cubicBezTo>
                <a:cubicBezTo>
                  <a:pt x="141" y="25"/>
                  <a:pt x="175" y="59"/>
                  <a:pt x="175" y="100"/>
                </a:cubicBezTo>
                <a:cubicBezTo>
                  <a:pt x="175" y="123"/>
                  <a:pt x="165" y="143"/>
                  <a:pt x="149" y="156"/>
                </a:cubicBezTo>
                <a:close/>
                <a:moveTo>
                  <a:pt x="100" y="55"/>
                </a:moveTo>
                <a:cubicBezTo>
                  <a:pt x="81" y="55"/>
                  <a:pt x="67" y="70"/>
                  <a:pt x="67" y="88"/>
                </a:cubicBezTo>
                <a:cubicBezTo>
                  <a:pt x="67" y="106"/>
                  <a:pt x="81" y="121"/>
                  <a:pt x="100" y="121"/>
                </a:cubicBezTo>
                <a:cubicBezTo>
                  <a:pt x="118" y="121"/>
                  <a:pt x="133" y="106"/>
                  <a:pt x="133" y="88"/>
                </a:cubicBezTo>
                <a:cubicBezTo>
                  <a:pt x="133" y="70"/>
                  <a:pt x="118" y="55"/>
                  <a:pt x="100" y="55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100" dirty="0"/>
          </a:p>
        </p:txBody>
      </p:sp>
    </p:spTree>
    <p:extLst>
      <p:ext uri="{BB962C8B-B14F-4D97-AF65-F5344CB8AC3E}">
        <p14:creationId xmlns:p14="http://schemas.microsoft.com/office/powerpoint/2010/main" val="32673722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Object 3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07284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8" name="think-cell Slide" r:id="rId4" imgW="455" imgH="454" progId="TCLayout.ActiveDocument.1">
                  <p:embed/>
                </p:oleObj>
              </mc:Choice>
              <mc:Fallback>
                <p:oleObj name="think-cell Slide" r:id="rId4" imgW="455" imgH="45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Rectangle 36"/>
          <p:cNvSpPr/>
          <p:nvPr/>
        </p:nvSpPr>
        <p:spPr>
          <a:xfrm>
            <a:off x="6550280" y="4891555"/>
            <a:ext cx="6063986" cy="453261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GB" sz="1600"/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0281179"/>
              </p:ext>
            </p:extLst>
          </p:nvPr>
        </p:nvGraphicFramePr>
        <p:xfrm>
          <a:off x="6550280" y="692864"/>
          <a:ext cx="6074295" cy="3693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79069">
                  <a:extLst>
                    <a:ext uri="{9D8B030D-6E8A-4147-A177-3AD203B41FA5}">
                      <a16:colId xmlns:a16="http://schemas.microsoft.com/office/drawing/2014/main" val="3801938894"/>
                    </a:ext>
                  </a:extLst>
                </a:gridCol>
                <a:gridCol w="2070461">
                  <a:extLst>
                    <a:ext uri="{9D8B030D-6E8A-4147-A177-3AD203B41FA5}">
                      <a16:colId xmlns:a16="http://schemas.microsoft.com/office/drawing/2014/main" val="3184872767"/>
                    </a:ext>
                  </a:extLst>
                </a:gridCol>
                <a:gridCol w="2024765">
                  <a:extLst>
                    <a:ext uri="{9D8B030D-6E8A-4147-A177-3AD203B41FA5}">
                      <a16:colId xmlns:a16="http://schemas.microsoft.com/office/drawing/2014/main" val="260070816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v-LV" sz="1100" b="1" u="none" strike="noStrike" kern="1200" cap="none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enosodi!</a:t>
                      </a:r>
                      <a:endParaRPr lang="en-US" sz="1100" b="1" u="none" strike="noStrike" kern="1200" cap="none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72000" marT="180000" marB="180000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b="1"/>
                    </a:p>
                  </a:txBody>
                  <a:tcPr marL="72000" marR="72000" marT="180000" marB="180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b="1"/>
                    </a:p>
                  </a:txBody>
                  <a:tcPr marL="72000" marR="72000" marT="180000" marB="180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66928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 dirty="0"/>
                    </a:p>
                  </a:txBody>
                  <a:tcPr marL="72000" marR="72000" marT="180000" marB="180000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v-LV" sz="1100" b="1" i="0" u="none" strike="noStrike" kern="1200" cap="none" dirty="0">
                          <a:solidFill>
                            <a:schemeClr val="dk1"/>
                          </a:solidFill>
                          <a:latin typeface="+mn-lt"/>
                          <a:ea typeface="Arial"/>
                          <a:cs typeface="Arial"/>
                          <a:sym typeface="Arial"/>
                        </a:rPr>
                        <a:t>Esi zinātkārs!</a:t>
                      </a:r>
                      <a:endParaRPr lang="en-US" sz="1100" b="1" i="0" u="none" strike="noStrike" kern="1200" cap="none" dirty="0">
                        <a:solidFill>
                          <a:schemeClr val="dk1"/>
                        </a:solidFill>
                        <a:latin typeface="+mn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72000" marR="72000" marT="180000" marB="180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v-LV" sz="1100" b="1" i="0" u="none" strike="noStrike" cap="none" baseline="0" dirty="0">
                          <a:solidFill>
                            <a:schemeClr val="dk1"/>
                          </a:solidFill>
                          <a:latin typeface="+mn-lt"/>
                          <a:ea typeface="Arial"/>
                          <a:cs typeface="Arial"/>
                          <a:sym typeface="Arial"/>
                        </a:rPr>
                        <a:t>Strādā komandā!</a:t>
                      </a:r>
                      <a:endParaRPr lang="lv-LV" sz="1100" b="1" i="0" u="none" strike="noStrike" cap="none" dirty="0">
                        <a:solidFill>
                          <a:schemeClr val="dk1"/>
                        </a:solidFill>
                        <a:latin typeface="+mn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72000" marR="72000" marT="180000" marB="180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3106120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/>
                    </a:p>
                  </a:txBody>
                  <a:tcPr marL="72000" marR="72000" marT="180000" marB="180000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b="1" dirty="0"/>
                    </a:p>
                  </a:txBody>
                  <a:tcPr marL="72000" marR="72000" marT="180000" marB="180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b="1"/>
                    </a:p>
                  </a:txBody>
                  <a:tcPr marL="72000" marR="72000" marT="180000" marB="180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95718842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 dirty="0"/>
                    </a:p>
                  </a:txBody>
                  <a:tcPr marL="72000" marR="72000" marT="180000" marB="180000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b="1" dirty="0"/>
                    </a:p>
                  </a:txBody>
                  <a:tcPr marL="72000" marR="72000" marT="180000" marB="180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b="1" dirty="0"/>
                    </a:p>
                  </a:txBody>
                  <a:tcPr marL="72000" marR="72000" marT="180000" marB="180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5275258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/>
                    </a:p>
                  </a:txBody>
                  <a:tcPr marL="72000" marR="72000" marT="180000" marB="180000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b="1" dirty="0"/>
                    </a:p>
                  </a:txBody>
                  <a:tcPr marL="72000" marR="72000" marT="180000" marB="180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b="1" dirty="0"/>
                    </a:p>
                  </a:txBody>
                  <a:tcPr marL="72000" marR="72000" marT="180000" marB="180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16723447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 dirty="0"/>
                    </a:p>
                  </a:txBody>
                  <a:tcPr marL="72000" marR="72000" marT="180000" marB="180000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b="1"/>
                    </a:p>
                  </a:txBody>
                  <a:tcPr marL="72000" marR="72000" marT="180000" marB="180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b="1" dirty="0"/>
                    </a:p>
                  </a:txBody>
                  <a:tcPr marL="72000" marR="72000" marT="180000" marB="180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5429170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1" dirty="0"/>
                    </a:p>
                  </a:txBody>
                  <a:tcPr marL="72000" marR="72000" marT="180000" marB="180000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b="1"/>
                    </a:p>
                  </a:txBody>
                  <a:tcPr marL="72000" marR="72000" marT="180000" marB="180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100" b="1" dirty="0"/>
                    </a:p>
                  </a:txBody>
                  <a:tcPr marL="72000" marR="72000" marT="180000" marB="180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70873034"/>
                  </a:ext>
                </a:extLst>
              </a:tr>
            </a:tbl>
          </a:graphicData>
        </a:graphic>
      </p:graphicFrame>
      <p:graphicFrame>
        <p:nvGraphicFramePr>
          <p:cNvPr id="17" name="Table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02541159"/>
              </p:ext>
            </p:extLst>
          </p:nvPr>
        </p:nvGraphicFramePr>
        <p:xfrm>
          <a:off x="178987" y="692864"/>
          <a:ext cx="6063986" cy="3755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31993">
                  <a:extLst>
                    <a:ext uri="{9D8B030D-6E8A-4147-A177-3AD203B41FA5}">
                      <a16:colId xmlns:a16="http://schemas.microsoft.com/office/drawing/2014/main" val="3801938894"/>
                    </a:ext>
                  </a:extLst>
                </a:gridCol>
                <a:gridCol w="3031993">
                  <a:extLst>
                    <a:ext uri="{9D8B030D-6E8A-4147-A177-3AD203B41FA5}">
                      <a16:colId xmlns:a16="http://schemas.microsoft.com/office/drawing/2014/main" val="31848727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v-LV" sz="1100" b="1" u="none" strike="noStrike" kern="1200" cap="none" dirty="0">
                          <a:solidFill>
                            <a:schemeClr val="accent1"/>
                          </a:solidFill>
                          <a:latin typeface="+mn-lt"/>
                          <a:ea typeface="+mn-ea"/>
                          <a:cs typeface="+mn-cs"/>
                        </a:rPr>
                        <a:t>Mērķis</a:t>
                      </a:r>
                    </a:p>
                  </a:txBody>
                  <a:tcPr marL="72000" marR="72000" marT="108000" marB="72000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1100" b="1" dirty="0" err="1">
                          <a:solidFill>
                            <a:schemeClr val="accent1"/>
                          </a:solidFill>
                        </a:rPr>
                        <a:t>Rezultāti</a:t>
                      </a:r>
                      <a:endParaRPr lang="en-GB" sz="1100" b="1" dirty="0">
                        <a:solidFill>
                          <a:schemeClr val="accent1"/>
                        </a:solidFill>
                      </a:endParaRPr>
                    </a:p>
                  </a:txBody>
                  <a:tcPr marL="72000" marR="72000" marT="108000" marB="72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669281"/>
                  </a:ext>
                </a:extLst>
              </a:tr>
              <a:tr h="0">
                <a:tc>
                  <a:txBody>
                    <a:bodyPr/>
                    <a:lstStyle/>
                    <a:p>
                      <a:endParaRPr lang="en-GB" sz="1100" b="0" dirty="0"/>
                    </a:p>
                  </a:txBody>
                  <a:tcPr marL="72000" marR="72000" marT="1620000" marB="1620000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cap="none" dirty="0">
                        <a:solidFill>
                          <a:schemeClr val="dk1"/>
                        </a:solidFill>
                        <a:latin typeface="+mn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72000" marR="72000" marT="1620000" marB="1620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3106120"/>
                  </a:ext>
                </a:extLst>
              </a:tr>
            </a:tbl>
          </a:graphicData>
        </a:graphic>
      </p:graphicFrame>
      <p:grpSp>
        <p:nvGrpSpPr>
          <p:cNvPr id="35" name="Group 34"/>
          <p:cNvGrpSpPr/>
          <p:nvPr/>
        </p:nvGrpSpPr>
        <p:grpSpPr>
          <a:xfrm>
            <a:off x="6550280" y="4775910"/>
            <a:ext cx="6064250" cy="532793"/>
            <a:chOff x="6550279" y="5000473"/>
            <a:chExt cx="6064250" cy="532793"/>
          </a:xfrm>
        </p:grpSpPr>
        <p:sp>
          <p:nvSpPr>
            <p:cNvPr id="5" name="Rectangle 4"/>
            <p:cNvSpPr/>
            <p:nvPr/>
          </p:nvSpPr>
          <p:spPr>
            <a:xfrm>
              <a:off x="6550279" y="5000473"/>
              <a:ext cx="6064250" cy="532793"/>
            </a:xfrm>
            <a:prstGeom prst="rect">
              <a:avLst/>
            </a:prstGeom>
            <a:solidFill>
              <a:schemeClr val="accent3"/>
            </a:solidFill>
            <a:ln w="3175">
              <a:solidFill>
                <a:schemeClr val="accent3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 lIns="72000" tIns="180000" rIns="72000" bIns="180000" rtlCol="0" anchor="ctr">
              <a:noAutofit/>
            </a:bodyPr>
            <a:lstStyle/>
            <a:p>
              <a:pPr lvl="0">
                <a:buSzPct val="25000"/>
              </a:pPr>
              <a:r>
                <a:rPr lang="lv-LV" sz="1100" b="1" dirty="0">
                  <a:solidFill>
                    <a:schemeClr val="bg1"/>
                  </a:solidFill>
                  <a:ea typeface="Georgia"/>
                  <a:cs typeface="Georgia"/>
                  <a:sym typeface="Georgia"/>
                </a:rPr>
                <a:t>Kas motivēs komandu? Uzrakstiet galvenos elementus</a:t>
              </a:r>
            </a:p>
          </p:txBody>
        </p:sp>
        <p:sp>
          <p:nvSpPr>
            <p:cNvPr id="6" name="Freeform 89"/>
            <p:cNvSpPr>
              <a:spLocks noChangeAspect="1"/>
            </p:cNvSpPr>
            <p:nvPr/>
          </p:nvSpPr>
          <p:spPr bwMode="auto">
            <a:xfrm>
              <a:off x="12225507" y="5126437"/>
              <a:ext cx="279035" cy="280863"/>
            </a:xfrm>
            <a:custGeom>
              <a:avLst/>
              <a:gdLst>
                <a:gd name="T0" fmla="*/ 176 w 201"/>
                <a:gd name="T1" fmla="*/ 43 h 202"/>
                <a:gd name="T2" fmla="*/ 23 w 201"/>
                <a:gd name="T3" fmla="*/ 197 h 202"/>
                <a:gd name="T4" fmla="*/ 5 w 201"/>
                <a:gd name="T5" fmla="*/ 197 h 202"/>
                <a:gd name="T6" fmla="*/ 5 w 201"/>
                <a:gd name="T7" fmla="*/ 179 h 202"/>
                <a:gd name="T8" fmla="*/ 159 w 201"/>
                <a:gd name="T9" fmla="*/ 25 h 202"/>
                <a:gd name="T10" fmla="*/ 39 w 201"/>
                <a:gd name="T11" fmla="*/ 25 h 202"/>
                <a:gd name="T12" fmla="*/ 26 w 201"/>
                <a:gd name="T13" fmla="*/ 13 h 202"/>
                <a:gd name="T14" fmla="*/ 39 w 201"/>
                <a:gd name="T15" fmla="*/ 0 h 202"/>
                <a:gd name="T16" fmla="*/ 201 w 201"/>
                <a:gd name="T17" fmla="*/ 0 h 202"/>
                <a:gd name="T18" fmla="*/ 201 w 201"/>
                <a:gd name="T19" fmla="*/ 163 h 202"/>
                <a:gd name="T20" fmla="*/ 189 w 201"/>
                <a:gd name="T21" fmla="*/ 175 h 202"/>
                <a:gd name="T22" fmla="*/ 176 w 201"/>
                <a:gd name="T23" fmla="*/ 163 h 202"/>
                <a:gd name="T24" fmla="*/ 176 w 201"/>
                <a:gd name="T25" fmla="*/ 43 h 2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1" h="202">
                  <a:moveTo>
                    <a:pt x="176" y="43"/>
                  </a:moveTo>
                  <a:cubicBezTo>
                    <a:pt x="23" y="197"/>
                    <a:pt x="23" y="197"/>
                    <a:pt x="23" y="197"/>
                  </a:cubicBezTo>
                  <a:cubicBezTo>
                    <a:pt x="18" y="202"/>
                    <a:pt x="10" y="202"/>
                    <a:pt x="5" y="197"/>
                  </a:cubicBezTo>
                  <a:cubicBezTo>
                    <a:pt x="0" y="192"/>
                    <a:pt x="0" y="184"/>
                    <a:pt x="5" y="179"/>
                  </a:cubicBezTo>
                  <a:cubicBezTo>
                    <a:pt x="159" y="25"/>
                    <a:pt x="159" y="25"/>
                    <a:pt x="159" y="25"/>
                  </a:cubicBezTo>
                  <a:cubicBezTo>
                    <a:pt x="39" y="25"/>
                    <a:pt x="39" y="25"/>
                    <a:pt x="39" y="25"/>
                  </a:cubicBezTo>
                  <a:cubicBezTo>
                    <a:pt x="32" y="25"/>
                    <a:pt x="26" y="20"/>
                    <a:pt x="26" y="13"/>
                  </a:cubicBezTo>
                  <a:cubicBezTo>
                    <a:pt x="26" y="6"/>
                    <a:pt x="32" y="0"/>
                    <a:pt x="39" y="0"/>
                  </a:cubicBezTo>
                  <a:cubicBezTo>
                    <a:pt x="201" y="0"/>
                    <a:pt x="201" y="0"/>
                    <a:pt x="201" y="0"/>
                  </a:cubicBezTo>
                  <a:cubicBezTo>
                    <a:pt x="201" y="163"/>
                    <a:pt x="201" y="163"/>
                    <a:pt x="201" y="163"/>
                  </a:cubicBezTo>
                  <a:cubicBezTo>
                    <a:pt x="201" y="170"/>
                    <a:pt x="196" y="175"/>
                    <a:pt x="189" y="175"/>
                  </a:cubicBezTo>
                  <a:cubicBezTo>
                    <a:pt x="182" y="175"/>
                    <a:pt x="176" y="170"/>
                    <a:pt x="176" y="163"/>
                  </a:cubicBezTo>
                  <a:lnTo>
                    <a:pt x="176" y="43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68580" tIns="180000" rIns="68580" bIns="180000" numCol="1" anchor="t" anchorCtr="0" compatLnSpc="1">
              <a:prstTxWarp prst="textNoShape">
                <a:avLst/>
              </a:prstTxWarp>
            </a:bodyPr>
            <a:lstStyle/>
            <a:p>
              <a:endParaRPr lang="en-GB" sz="1100" dirty="0"/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178987" y="177026"/>
            <a:ext cx="6063986" cy="532793"/>
            <a:chOff x="344129" y="177026"/>
            <a:chExt cx="6063986" cy="532793"/>
          </a:xfrm>
        </p:grpSpPr>
        <p:sp>
          <p:nvSpPr>
            <p:cNvPr id="2" name="Rectangle 1"/>
            <p:cNvSpPr/>
            <p:nvPr/>
          </p:nvSpPr>
          <p:spPr>
            <a:xfrm>
              <a:off x="344129" y="177026"/>
              <a:ext cx="6063986" cy="532793"/>
            </a:xfrm>
            <a:prstGeom prst="rect">
              <a:avLst/>
            </a:prstGeom>
            <a:ln w="3175">
              <a:solidFill>
                <a:schemeClr val="accent1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 lIns="72000" tIns="180000" rIns="72000" bIns="180000" rtlCol="0" anchor="ctr">
              <a:spAutoFit/>
            </a:bodyPr>
            <a:lstStyle/>
            <a:p>
              <a:r>
                <a:rPr lang="es-ES" sz="1100" b="1" dirty="0" err="1">
                  <a:solidFill>
                    <a:srgbClr val="FFFFFF"/>
                  </a:solidFill>
                </a:rPr>
                <a:t>Laboratorijas</a:t>
              </a:r>
              <a:r>
                <a:rPr lang="es-ES" sz="1100" b="1" dirty="0">
                  <a:solidFill>
                    <a:srgbClr val="FFFFFF"/>
                  </a:solidFill>
                </a:rPr>
                <a:t> </a:t>
              </a:r>
              <a:r>
                <a:rPr lang="es-ES" sz="1100" b="1" dirty="0" err="1">
                  <a:solidFill>
                    <a:srgbClr val="FFFFFF"/>
                  </a:solidFill>
                </a:rPr>
                <a:t>mērķa</a:t>
              </a:r>
              <a:r>
                <a:rPr lang="es-ES" sz="1100" b="1" dirty="0">
                  <a:solidFill>
                    <a:srgbClr val="FFFFFF"/>
                  </a:solidFill>
                </a:rPr>
                <a:t> un </a:t>
              </a:r>
              <a:r>
                <a:rPr lang="es-ES" sz="1100" b="1" dirty="0" err="1">
                  <a:solidFill>
                    <a:srgbClr val="FFFFFF"/>
                  </a:solidFill>
                </a:rPr>
                <a:t>plānoto</a:t>
              </a:r>
              <a:r>
                <a:rPr lang="es-ES" sz="1100" b="1" dirty="0">
                  <a:solidFill>
                    <a:srgbClr val="FFFFFF"/>
                  </a:solidFill>
                </a:rPr>
                <a:t> </a:t>
              </a:r>
              <a:r>
                <a:rPr lang="es-ES" sz="1100" b="1" dirty="0" err="1">
                  <a:solidFill>
                    <a:srgbClr val="FFFFFF"/>
                  </a:solidFill>
                </a:rPr>
                <a:t>rezultātu</a:t>
              </a:r>
              <a:r>
                <a:rPr lang="es-ES" sz="1100" b="1" dirty="0">
                  <a:solidFill>
                    <a:srgbClr val="FFFFFF"/>
                  </a:solidFill>
                </a:rPr>
                <a:t> </a:t>
              </a:r>
              <a:r>
                <a:rPr lang="es-ES" sz="1100" b="1" dirty="0" err="1">
                  <a:solidFill>
                    <a:srgbClr val="FFFFFF"/>
                  </a:solidFill>
                </a:rPr>
                <a:t>izklāsts</a:t>
              </a:r>
              <a:endParaRPr lang="es-ES" sz="1100" b="1" dirty="0">
                <a:solidFill>
                  <a:srgbClr val="FFFFFF"/>
                </a:solidFill>
              </a:endParaRPr>
            </a:p>
          </p:txBody>
        </p:sp>
        <p:sp>
          <p:nvSpPr>
            <p:cNvPr id="7" name="Freeform 38"/>
            <p:cNvSpPr>
              <a:spLocks noChangeAspect="1" noEditPoints="1"/>
            </p:cNvSpPr>
            <p:nvPr/>
          </p:nvSpPr>
          <p:spPr bwMode="auto">
            <a:xfrm>
              <a:off x="5960886" y="298303"/>
              <a:ext cx="369172" cy="290237"/>
            </a:xfrm>
            <a:custGeom>
              <a:avLst/>
              <a:gdLst>
                <a:gd name="T0" fmla="*/ 147 w 200"/>
                <a:gd name="T1" fmla="*/ 26 h 158"/>
                <a:gd name="T2" fmla="*/ 53 w 200"/>
                <a:gd name="T3" fmla="*/ 26 h 158"/>
                <a:gd name="T4" fmla="*/ 0 w 200"/>
                <a:gd name="T5" fmla="*/ 79 h 158"/>
                <a:gd name="T6" fmla="*/ 53 w 200"/>
                <a:gd name="T7" fmla="*/ 132 h 158"/>
                <a:gd name="T8" fmla="*/ 147 w 200"/>
                <a:gd name="T9" fmla="*/ 132 h 158"/>
                <a:gd name="T10" fmla="*/ 200 w 200"/>
                <a:gd name="T11" fmla="*/ 79 h 158"/>
                <a:gd name="T12" fmla="*/ 147 w 200"/>
                <a:gd name="T13" fmla="*/ 26 h 158"/>
                <a:gd name="T14" fmla="*/ 100 w 200"/>
                <a:gd name="T15" fmla="*/ 126 h 158"/>
                <a:gd name="T16" fmla="*/ 52 w 200"/>
                <a:gd name="T17" fmla="*/ 79 h 158"/>
                <a:gd name="T18" fmla="*/ 100 w 200"/>
                <a:gd name="T19" fmla="*/ 32 h 158"/>
                <a:gd name="T20" fmla="*/ 147 w 200"/>
                <a:gd name="T21" fmla="*/ 79 h 158"/>
                <a:gd name="T22" fmla="*/ 100 w 200"/>
                <a:gd name="T23" fmla="*/ 126 h 158"/>
                <a:gd name="T24" fmla="*/ 100 w 200"/>
                <a:gd name="T25" fmla="*/ 48 h 158"/>
                <a:gd name="T26" fmla="*/ 100 w 200"/>
                <a:gd name="T27" fmla="*/ 79 h 158"/>
                <a:gd name="T28" fmla="*/ 78 w 200"/>
                <a:gd name="T29" fmla="*/ 57 h 158"/>
                <a:gd name="T30" fmla="*/ 69 w 200"/>
                <a:gd name="T31" fmla="*/ 79 h 158"/>
                <a:gd name="T32" fmla="*/ 100 w 200"/>
                <a:gd name="T33" fmla="*/ 110 h 158"/>
                <a:gd name="T34" fmla="*/ 131 w 200"/>
                <a:gd name="T35" fmla="*/ 79 h 158"/>
                <a:gd name="T36" fmla="*/ 100 w 200"/>
                <a:gd name="T37" fmla="*/ 48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0" h="158">
                  <a:moveTo>
                    <a:pt x="147" y="26"/>
                  </a:moveTo>
                  <a:cubicBezTo>
                    <a:pt x="121" y="0"/>
                    <a:pt x="79" y="0"/>
                    <a:pt x="53" y="26"/>
                  </a:cubicBezTo>
                  <a:cubicBezTo>
                    <a:pt x="0" y="79"/>
                    <a:pt x="0" y="79"/>
                    <a:pt x="0" y="79"/>
                  </a:cubicBezTo>
                  <a:cubicBezTo>
                    <a:pt x="53" y="132"/>
                    <a:pt x="53" y="132"/>
                    <a:pt x="53" y="132"/>
                  </a:cubicBezTo>
                  <a:cubicBezTo>
                    <a:pt x="79" y="158"/>
                    <a:pt x="121" y="158"/>
                    <a:pt x="147" y="132"/>
                  </a:cubicBezTo>
                  <a:cubicBezTo>
                    <a:pt x="200" y="79"/>
                    <a:pt x="200" y="79"/>
                    <a:pt x="200" y="79"/>
                  </a:cubicBezTo>
                  <a:lnTo>
                    <a:pt x="147" y="26"/>
                  </a:lnTo>
                  <a:close/>
                  <a:moveTo>
                    <a:pt x="100" y="126"/>
                  </a:moveTo>
                  <a:cubicBezTo>
                    <a:pt x="74" y="126"/>
                    <a:pt x="52" y="105"/>
                    <a:pt x="52" y="79"/>
                  </a:cubicBezTo>
                  <a:cubicBezTo>
                    <a:pt x="52" y="53"/>
                    <a:pt x="74" y="32"/>
                    <a:pt x="100" y="32"/>
                  </a:cubicBezTo>
                  <a:cubicBezTo>
                    <a:pt x="126" y="32"/>
                    <a:pt x="147" y="53"/>
                    <a:pt x="147" y="79"/>
                  </a:cubicBezTo>
                  <a:cubicBezTo>
                    <a:pt x="147" y="105"/>
                    <a:pt x="126" y="126"/>
                    <a:pt x="100" y="126"/>
                  </a:cubicBezTo>
                  <a:close/>
                  <a:moveTo>
                    <a:pt x="100" y="48"/>
                  </a:moveTo>
                  <a:cubicBezTo>
                    <a:pt x="100" y="79"/>
                    <a:pt x="100" y="79"/>
                    <a:pt x="100" y="79"/>
                  </a:cubicBezTo>
                  <a:cubicBezTo>
                    <a:pt x="78" y="57"/>
                    <a:pt x="78" y="57"/>
                    <a:pt x="78" y="57"/>
                  </a:cubicBezTo>
                  <a:cubicBezTo>
                    <a:pt x="73" y="63"/>
                    <a:pt x="69" y="70"/>
                    <a:pt x="69" y="79"/>
                  </a:cubicBezTo>
                  <a:cubicBezTo>
                    <a:pt x="69" y="96"/>
                    <a:pt x="83" y="110"/>
                    <a:pt x="100" y="110"/>
                  </a:cubicBezTo>
                  <a:cubicBezTo>
                    <a:pt x="117" y="110"/>
                    <a:pt x="131" y="96"/>
                    <a:pt x="131" y="79"/>
                  </a:cubicBezTo>
                  <a:cubicBezTo>
                    <a:pt x="131" y="62"/>
                    <a:pt x="117" y="48"/>
                    <a:pt x="100" y="4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68580" tIns="180000" rIns="68580" bIns="180000" numCol="1" anchor="t" anchorCtr="0" compatLnSpc="1">
              <a:prstTxWarp prst="textNoShape">
                <a:avLst/>
              </a:prstTxWarp>
            </a:bodyPr>
            <a:lstStyle/>
            <a:p>
              <a:endParaRPr lang="en-GB" sz="1100" dirty="0"/>
            </a:p>
          </p:txBody>
        </p:sp>
      </p:grpSp>
      <p:grpSp>
        <p:nvGrpSpPr>
          <p:cNvPr id="34" name="Group 33"/>
          <p:cNvGrpSpPr/>
          <p:nvPr/>
        </p:nvGrpSpPr>
        <p:grpSpPr>
          <a:xfrm>
            <a:off x="178987" y="4775910"/>
            <a:ext cx="6064250" cy="532793"/>
            <a:chOff x="178988" y="5000473"/>
            <a:chExt cx="6064250" cy="532793"/>
          </a:xfrm>
        </p:grpSpPr>
        <p:sp>
          <p:nvSpPr>
            <p:cNvPr id="4" name="Rectangle 3"/>
            <p:cNvSpPr/>
            <p:nvPr/>
          </p:nvSpPr>
          <p:spPr>
            <a:xfrm>
              <a:off x="178988" y="5000473"/>
              <a:ext cx="6064250" cy="532793"/>
            </a:xfrm>
            <a:prstGeom prst="rect">
              <a:avLst/>
            </a:prstGeom>
            <a:solidFill>
              <a:schemeClr val="accent5"/>
            </a:solidFill>
            <a:ln w="3175">
              <a:solidFill>
                <a:schemeClr val="accent3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 lIns="72000" tIns="180000" rIns="72000" bIns="180000" rtlCol="0" anchor="ctr">
              <a:noAutofit/>
            </a:bodyPr>
            <a:lstStyle/>
            <a:p>
              <a:pPr defTabSz="1219170">
                <a:buClrTx/>
                <a:buSzPct val="25000"/>
              </a:pPr>
              <a:r>
                <a:rPr lang="lv-LV" sz="1100" b="1" dirty="0">
                  <a:ea typeface="Georgia"/>
                  <a:cs typeface="Georgia"/>
                  <a:sym typeface="Georgia"/>
                </a:rPr>
                <a:t>Kādi dalībnieki ir komandā?</a:t>
              </a:r>
              <a:endParaRPr lang="en-US" sz="1100" b="1" dirty="0">
                <a:ea typeface="Georgia"/>
                <a:cs typeface="Georgia"/>
                <a:sym typeface="Georgia"/>
              </a:endParaRPr>
            </a:p>
          </p:txBody>
        </p:sp>
        <p:grpSp>
          <p:nvGrpSpPr>
            <p:cNvPr id="8" name="Group 7"/>
            <p:cNvGrpSpPr/>
            <p:nvPr/>
          </p:nvGrpSpPr>
          <p:grpSpPr>
            <a:xfrm>
              <a:off x="5854009" y="5116118"/>
              <a:ext cx="304271" cy="301503"/>
              <a:chOff x="3395520" y="6231707"/>
              <a:chExt cx="325825" cy="317020"/>
            </a:xfrm>
            <a:solidFill>
              <a:schemeClr val="bg1"/>
            </a:solidFill>
          </p:grpSpPr>
          <p:sp>
            <p:nvSpPr>
              <p:cNvPr id="9" name="Freeform 263"/>
              <p:cNvSpPr>
                <a:spLocks/>
              </p:cNvSpPr>
              <p:nvPr/>
            </p:nvSpPr>
            <p:spPr bwMode="auto">
              <a:xfrm>
                <a:off x="3503394" y="6231707"/>
                <a:ext cx="105673" cy="105673"/>
              </a:xfrm>
              <a:custGeom>
                <a:avLst/>
                <a:gdLst>
                  <a:gd name="T0" fmla="*/ 72 w 145"/>
                  <a:gd name="T1" fmla="*/ 145 h 145"/>
                  <a:gd name="T2" fmla="*/ 72 w 145"/>
                  <a:gd name="T3" fmla="*/ 145 h 145"/>
                  <a:gd name="T4" fmla="*/ 87 w 145"/>
                  <a:gd name="T5" fmla="*/ 144 h 145"/>
                  <a:gd name="T6" fmla="*/ 100 w 145"/>
                  <a:gd name="T7" fmla="*/ 139 h 145"/>
                  <a:gd name="T8" fmla="*/ 113 w 145"/>
                  <a:gd name="T9" fmla="*/ 132 h 145"/>
                  <a:gd name="T10" fmla="*/ 123 w 145"/>
                  <a:gd name="T11" fmla="*/ 124 h 145"/>
                  <a:gd name="T12" fmla="*/ 132 w 145"/>
                  <a:gd name="T13" fmla="*/ 113 h 145"/>
                  <a:gd name="T14" fmla="*/ 139 w 145"/>
                  <a:gd name="T15" fmla="*/ 100 h 145"/>
                  <a:gd name="T16" fmla="*/ 144 w 145"/>
                  <a:gd name="T17" fmla="*/ 87 h 145"/>
                  <a:gd name="T18" fmla="*/ 145 w 145"/>
                  <a:gd name="T19" fmla="*/ 73 h 145"/>
                  <a:gd name="T20" fmla="*/ 145 w 145"/>
                  <a:gd name="T21" fmla="*/ 73 h 145"/>
                  <a:gd name="T22" fmla="*/ 144 w 145"/>
                  <a:gd name="T23" fmla="*/ 58 h 145"/>
                  <a:gd name="T24" fmla="*/ 139 w 145"/>
                  <a:gd name="T25" fmla="*/ 44 h 145"/>
                  <a:gd name="T26" fmla="*/ 132 w 145"/>
                  <a:gd name="T27" fmla="*/ 32 h 145"/>
                  <a:gd name="T28" fmla="*/ 123 w 145"/>
                  <a:gd name="T29" fmla="*/ 20 h 145"/>
                  <a:gd name="T30" fmla="*/ 113 w 145"/>
                  <a:gd name="T31" fmla="*/ 12 h 145"/>
                  <a:gd name="T32" fmla="*/ 100 w 145"/>
                  <a:gd name="T33" fmla="*/ 6 h 145"/>
                  <a:gd name="T34" fmla="*/ 87 w 145"/>
                  <a:gd name="T35" fmla="*/ 1 h 145"/>
                  <a:gd name="T36" fmla="*/ 72 w 145"/>
                  <a:gd name="T37" fmla="*/ 0 h 145"/>
                  <a:gd name="T38" fmla="*/ 72 w 145"/>
                  <a:gd name="T39" fmla="*/ 0 h 145"/>
                  <a:gd name="T40" fmla="*/ 58 w 145"/>
                  <a:gd name="T41" fmla="*/ 1 h 145"/>
                  <a:gd name="T42" fmla="*/ 45 w 145"/>
                  <a:gd name="T43" fmla="*/ 6 h 145"/>
                  <a:gd name="T44" fmla="*/ 32 w 145"/>
                  <a:gd name="T45" fmla="*/ 12 h 145"/>
                  <a:gd name="T46" fmla="*/ 22 w 145"/>
                  <a:gd name="T47" fmla="*/ 20 h 145"/>
                  <a:gd name="T48" fmla="*/ 13 w 145"/>
                  <a:gd name="T49" fmla="*/ 32 h 145"/>
                  <a:gd name="T50" fmla="*/ 6 w 145"/>
                  <a:gd name="T51" fmla="*/ 44 h 145"/>
                  <a:gd name="T52" fmla="*/ 1 w 145"/>
                  <a:gd name="T53" fmla="*/ 58 h 145"/>
                  <a:gd name="T54" fmla="*/ 0 w 145"/>
                  <a:gd name="T55" fmla="*/ 73 h 145"/>
                  <a:gd name="T56" fmla="*/ 0 w 145"/>
                  <a:gd name="T57" fmla="*/ 73 h 145"/>
                  <a:gd name="T58" fmla="*/ 1 w 145"/>
                  <a:gd name="T59" fmla="*/ 87 h 145"/>
                  <a:gd name="T60" fmla="*/ 6 w 145"/>
                  <a:gd name="T61" fmla="*/ 100 h 145"/>
                  <a:gd name="T62" fmla="*/ 13 w 145"/>
                  <a:gd name="T63" fmla="*/ 113 h 145"/>
                  <a:gd name="T64" fmla="*/ 22 w 145"/>
                  <a:gd name="T65" fmla="*/ 124 h 145"/>
                  <a:gd name="T66" fmla="*/ 32 w 145"/>
                  <a:gd name="T67" fmla="*/ 132 h 145"/>
                  <a:gd name="T68" fmla="*/ 45 w 145"/>
                  <a:gd name="T69" fmla="*/ 139 h 145"/>
                  <a:gd name="T70" fmla="*/ 58 w 145"/>
                  <a:gd name="T71" fmla="*/ 144 h 145"/>
                  <a:gd name="T72" fmla="*/ 72 w 145"/>
                  <a:gd name="T73" fmla="*/ 145 h 145"/>
                  <a:gd name="T74" fmla="*/ 72 w 145"/>
                  <a:gd name="T75" fmla="*/ 145 h 1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45" h="145">
                    <a:moveTo>
                      <a:pt x="72" y="145"/>
                    </a:moveTo>
                    <a:lnTo>
                      <a:pt x="72" y="145"/>
                    </a:lnTo>
                    <a:lnTo>
                      <a:pt x="87" y="144"/>
                    </a:lnTo>
                    <a:lnTo>
                      <a:pt x="100" y="139"/>
                    </a:lnTo>
                    <a:lnTo>
                      <a:pt x="113" y="132"/>
                    </a:lnTo>
                    <a:lnTo>
                      <a:pt x="123" y="124"/>
                    </a:lnTo>
                    <a:lnTo>
                      <a:pt x="132" y="113"/>
                    </a:lnTo>
                    <a:lnTo>
                      <a:pt x="139" y="100"/>
                    </a:lnTo>
                    <a:lnTo>
                      <a:pt x="144" y="87"/>
                    </a:lnTo>
                    <a:lnTo>
                      <a:pt x="145" y="73"/>
                    </a:lnTo>
                    <a:lnTo>
                      <a:pt x="145" y="73"/>
                    </a:lnTo>
                    <a:lnTo>
                      <a:pt x="144" y="58"/>
                    </a:lnTo>
                    <a:lnTo>
                      <a:pt x="139" y="44"/>
                    </a:lnTo>
                    <a:lnTo>
                      <a:pt x="132" y="32"/>
                    </a:lnTo>
                    <a:lnTo>
                      <a:pt x="123" y="20"/>
                    </a:lnTo>
                    <a:lnTo>
                      <a:pt x="113" y="12"/>
                    </a:lnTo>
                    <a:lnTo>
                      <a:pt x="100" y="6"/>
                    </a:lnTo>
                    <a:lnTo>
                      <a:pt x="87" y="1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58" y="1"/>
                    </a:lnTo>
                    <a:lnTo>
                      <a:pt x="45" y="6"/>
                    </a:lnTo>
                    <a:lnTo>
                      <a:pt x="32" y="12"/>
                    </a:lnTo>
                    <a:lnTo>
                      <a:pt x="22" y="20"/>
                    </a:lnTo>
                    <a:lnTo>
                      <a:pt x="13" y="32"/>
                    </a:lnTo>
                    <a:lnTo>
                      <a:pt x="6" y="44"/>
                    </a:lnTo>
                    <a:lnTo>
                      <a:pt x="1" y="58"/>
                    </a:lnTo>
                    <a:lnTo>
                      <a:pt x="0" y="73"/>
                    </a:lnTo>
                    <a:lnTo>
                      <a:pt x="0" y="73"/>
                    </a:lnTo>
                    <a:lnTo>
                      <a:pt x="1" y="87"/>
                    </a:lnTo>
                    <a:lnTo>
                      <a:pt x="6" y="100"/>
                    </a:lnTo>
                    <a:lnTo>
                      <a:pt x="13" y="113"/>
                    </a:lnTo>
                    <a:lnTo>
                      <a:pt x="22" y="124"/>
                    </a:lnTo>
                    <a:lnTo>
                      <a:pt x="32" y="132"/>
                    </a:lnTo>
                    <a:lnTo>
                      <a:pt x="45" y="139"/>
                    </a:lnTo>
                    <a:lnTo>
                      <a:pt x="58" y="144"/>
                    </a:lnTo>
                    <a:lnTo>
                      <a:pt x="72" y="145"/>
                    </a:lnTo>
                    <a:lnTo>
                      <a:pt x="72" y="14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18000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100"/>
              </a:p>
            </p:txBody>
          </p:sp>
          <p:sp>
            <p:nvSpPr>
              <p:cNvPr id="10" name="Freeform 264"/>
              <p:cNvSpPr>
                <a:spLocks/>
              </p:cNvSpPr>
              <p:nvPr/>
            </p:nvSpPr>
            <p:spPr bwMode="auto">
              <a:xfrm>
                <a:off x="3406527" y="6277939"/>
                <a:ext cx="88061" cy="90263"/>
              </a:xfrm>
              <a:custGeom>
                <a:avLst/>
                <a:gdLst>
                  <a:gd name="T0" fmla="*/ 60 w 121"/>
                  <a:gd name="T1" fmla="*/ 122 h 122"/>
                  <a:gd name="T2" fmla="*/ 60 w 121"/>
                  <a:gd name="T3" fmla="*/ 122 h 122"/>
                  <a:gd name="T4" fmla="*/ 73 w 121"/>
                  <a:gd name="T5" fmla="*/ 121 h 122"/>
                  <a:gd name="T6" fmla="*/ 84 w 121"/>
                  <a:gd name="T7" fmla="*/ 118 h 122"/>
                  <a:gd name="T8" fmla="*/ 94 w 121"/>
                  <a:gd name="T9" fmla="*/ 112 h 122"/>
                  <a:gd name="T10" fmla="*/ 103 w 121"/>
                  <a:gd name="T11" fmla="*/ 105 h 122"/>
                  <a:gd name="T12" fmla="*/ 110 w 121"/>
                  <a:gd name="T13" fmla="*/ 96 h 122"/>
                  <a:gd name="T14" fmla="*/ 116 w 121"/>
                  <a:gd name="T15" fmla="*/ 84 h 122"/>
                  <a:gd name="T16" fmla="*/ 119 w 121"/>
                  <a:gd name="T17" fmla="*/ 74 h 122"/>
                  <a:gd name="T18" fmla="*/ 121 w 121"/>
                  <a:gd name="T19" fmla="*/ 61 h 122"/>
                  <a:gd name="T20" fmla="*/ 121 w 121"/>
                  <a:gd name="T21" fmla="*/ 61 h 122"/>
                  <a:gd name="T22" fmla="*/ 119 w 121"/>
                  <a:gd name="T23" fmla="*/ 49 h 122"/>
                  <a:gd name="T24" fmla="*/ 116 w 121"/>
                  <a:gd name="T25" fmla="*/ 38 h 122"/>
                  <a:gd name="T26" fmla="*/ 110 w 121"/>
                  <a:gd name="T27" fmla="*/ 28 h 122"/>
                  <a:gd name="T28" fmla="*/ 103 w 121"/>
                  <a:gd name="T29" fmla="*/ 19 h 122"/>
                  <a:gd name="T30" fmla="*/ 94 w 121"/>
                  <a:gd name="T31" fmla="*/ 12 h 122"/>
                  <a:gd name="T32" fmla="*/ 84 w 121"/>
                  <a:gd name="T33" fmla="*/ 6 h 122"/>
                  <a:gd name="T34" fmla="*/ 73 w 121"/>
                  <a:gd name="T35" fmla="*/ 1 h 122"/>
                  <a:gd name="T36" fmla="*/ 60 w 121"/>
                  <a:gd name="T37" fmla="*/ 0 h 122"/>
                  <a:gd name="T38" fmla="*/ 60 w 121"/>
                  <a:gd name="T39" fmla="*/ 0 h 122"/>
                  <a:gd name="T40" fmla="*/ 48 w 121"/>
                  <a:gd name="T41" fmla="*/ 1 h 122"/>
                  <a:gd name="T42" fmla="*/ 36 w 121"/>
                  <a:gd name="T43" fmla="*/ 6 h 122"/>
                  <a:gd name="T44" fmla="*/ 26 w 121"/>
                  <a:gd name="T45" fmla="*/ 12 h 122"/>
                  <a:gd name="T46" fmla="*/ 17 w 121"/>
                  <a:gd name="T47" fmla="*/ 19 h 122"/>
                  <a:gd name="T48" fmla="*/ 10 w 121"/>
                  <a:gd name="T49" fmla="*/ 28 h 122"/>
                  <a:gd name="T50" fmla="*/ 4 w 121"/>
                  <a:gd name="T51" fmla="*/ 38 h 122"/>
                  <a:gd name="T52" fmla="*/ 0 w 121"/>
                  <a:gd name="T53" fmla="*/ 49 h 122"/>
                  <a:gd name="T54" fmla="*/ 0 w 121"/>
                  <a:gd name="T55" fmla="*/ 61 h 122"/>
                  <a:gd name="T56" fmla="*/ 0 w 121"/>
                  <a:gd name="T57" fmla="*/ 61 h 122"/>
                  <a:gd name="T58" fmla="*/ 0 w 121"/>
                  <a:gd name="T59" fmla="*/ 74 h 122"/>
                  <a:gd name="T60" fmla="*/ 4 w 121"/>
                  <a:gd name="T61" fmla="*/ 84 h 122"/>
                  <a:gd name="T62" fmla="*/ 10 w 121"/>
                  <a:gd name="T63" fmla="*/ 96 h 122"/>
                  <a:gd name="T64" fmla="*/ 17 w 121"/>
                  <a:gd name="T65" fmla="*/ 105 h 122"/>
                  <a:gd name="T66" fmla="*/ 26 w 121"/>
                  <a:gd name="T67" fmla="*/ 112 h 122"/>
                  <a:gd name="T68" fmla="*/ 36 w 121"/>
                  <a:gd name="T69" fmla="*/ 118 h 122"/>
                  <a:gd name="T70" fmla="*/ 48 w 121"/>
                  <a:gd name="T71" fmla="*/ 121 h 122"/>
                  <a:gd name="T72" fmla="*/ 60 w 121"/>
                  <a:gd name="T73" fmla="*/ 122 h 122"/>
                  <a:gd name="T74" fmla="*/ 60 w 121"/>
                  <a:gd name="T75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1" h="122">
                    <a:moveTo>
                      <a:pt x="60" y="122"/>
                    </a:moveTo>
                    <a:lnTo>
                      <a:pt x="60" y="122"/>
                    </a:lnTo>
                    <a:lnTo>
                      <a:pt x="73" y="121"/>
                    </a:lnTo>
                    <a:lnTo>
                      <a:pt x="84" y="118"/>
                    </a:lnTo>
                    <a:lnTo>
                      <a:pt x="94" y="112"/>
                    </a:lnTo>
                    <a:lnTo>
                      <a:pt x="103" y="105"/>
                    </a:lnTo>
                    <a:lnTo>
                      <a:pt x="110" y="96"/>
                    </a:lnTo>
                    <a:lnTo>
                      <a:pt x="116" y="84"/>
                    </a:lnTo>
                    <a:lnTo>
                      <a:pt x="119" y="74"/>
                    </a:lnTo>
                    <a:lnTo>
                      <a:pt x="121" y="61"/>
                    </a:lnTo>
                    <a:lnTo>
                      <a:pt x="121" y="61"/>
                    </a:lnTo>
                    <a:lnTo>
                      <a:pt x="119" y="49"/>
                    </a:lnTo>
                    <a:lnTo>
                      <a:pt x="116" y="38"/>
                    </a:lnTo>
                    <a:lnTo>
                      <a:pt x="110" y="28"/>
                    </a:lnTo>
                    <a:lnTo>
                      <a:pt x="103" y="19"/>
                    </a:lnTo>
                    <a:lnTo>
                      <a:pt x="94" y="12"/>
                    </a:lnTo>
                    <a:lnTo>
                      <a:pt x="84" y="6"/>
                    </a:lnTo>
                    <a:lnTo>
                      <a:pt x="73" y="1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48" y="1"/>
                    </a:lnTo>
                    <a:lnTo>
                      <a:pt x="36" y="6"/>
                    </a:lnTo>
                    <a:lnTo>
                      <a:pt x="26" y="12"/>
                    </a:lnTo>
                    <a:lnTo>
                      <a:pt x="17" y="19"/>
                    </a:lnTo>
                    <a:lnTo>
                      <a:pt x="10" y="28"/>
                    </a:lnTo>
                    <a:lnTo>
                      <a:pt x="4" y="38"/>
                    </a:lnTo>
                    <a:lnTo>
                      <a:pt x="0" y="49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0" y="74"/>
                    </a:lnTo>
                    <a:lnTo>
                      <a:pt x="4" y="84"/>
                    </a:lnTo>
                    <a:lnTo>
                      <a:pt x="10" y="96"/>
                    </a:lnTo>
                    <a:lnTo>
                      <a:pt x="17" y="105"/>
                    </a:lnTo>
                    <a:lnTo>
                      <a:pt x="26" y="112"/>
                    </a:lnTo>
                    <a:lnTo>
                      <a:pt x="36" y="118"/>
                    </a:lnTo>
                    <a:lnTo>
                      <a:pt x="48" y="121"/>
                    </a:lnTo>
                    <a:lnTo>
                      <a:pt x="60" y="122"/>
                    </a:lnTo>
                    <a:lnTo>
                      <a:pt x="60" y="1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18000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100"/>
              </a:p>
            </p:txBody>
          </p:sp>
          <p:sp>
            <p:nvSpPr>
              <p:cNvPr id="11" name="Freeform 265"/>
              <p:cNvSpPr>
                <a:spLocks/>
              </p:cNvSpPr>
              <p:nvPr/>
            </p:nvSpPr>
            <p:spPr bwMode="auto">
              <a:xfrm>
                <a:off x="3622276" y="6277939"/>
                <a:ext cx="90263" cy="90263"/>
              </a:xfrm>
              <a:custGeom>
                <a:avLst/>
                <a:gdLst>
                  <a:gd name="T0" fmla="*/ 61 w 122"/>
                  <a:gd name="T1" fmla="*/ 122 h 122"/>
                  <a:gd name="T2" fmla="*/ 61 w 122"/>
                  <a:gd name="T3" fmla="*/ 122 h 122"/>
                  <a:gd name="T4" fmla="*/ 74 w 122"/>
                  <a:gd name="T5" fmla="*/ 121 h 122"/>
                  <a:gd name="T6" fmla="*/ 84 w 122"/>
                  <a:gd name="T7" fmla="*/ 118 h 122"/>
                  <a:gd name="T8" fmla="*/ 95 w 122"/>
                  <a:gd name="T9" fmla="*/ 112 h 122"/>
                  <a:gd name="T10" fmla="*/ 105 w 122"/>
                  <a:gd name="T11" fmla="*/ 105 h 122"/>
                  <a:gd name="T12" fmla="*/ 112 w 122"/>
                  <a:gd name="T13" fmla="*/ 96 h 122"/>
                  <a:gd name="T14" fmla="*/ 118 w 122"/>
                  <a:gd name="T15" fmla="*/ 84 h 122"/>
                  <a:gd name="T16" fmla="*/ 121 w 122"/>
                  <a:gd name="T17" fmla="*/ 74 h 122"/>
                  <a:gd name="T18" fmla="*/ 122 w 122"/>
                  <a:gd name="T19" fmla="*/ 61 h 122"/>
                  <a:gd name="T20" fmla="*/ 122 w 122"/>
                  <a:gd name="T21" fmla="*/ 61 h 122"/>
                  <a:gd name="T22" fmla="*/ 121 w 122"/>
                  <a:gd name="T23" fmla="*/ 49 h 122"/>
                  <a:gd name="T24" fmla="*/ 118 w 122"/>
                  <a:gd name="T25" fmla="*/ 38 h 122"/>
                  <a:gd name="T26" fmla="*/ 112 w 122"/>
                  <a:gd name="T27" fmla="*/ 28 h 122"/>
                  <a:gd name="T28" fmla="*/ 105 w 122"/>
                  <a:gd name="T29" fmla="*/ 19 h 122"/>
                  <a:gd name="T30" fmla="*/ 95 w 122"/>
                  <a:gd name="T31" fmla="*/ 12 h 122"/>
                  <a:gd name="T32" fmla="*/ 84 w 122"/>
                  <a:gd name="T33" fmla="*/ 6 h 122"/>
                  <a:gd name="T34" fmla="*/ 74 w 122"/>
                  <a:gd name="T35" fmla="*/ 1 h 122"/>
                  <a:gd name="T36" fmla="*/ 61 w 122"/>
                  <a:gd name="T37" fmla="*/ 0 h 122"/>
                  <a:gd name="T38" fmla="*/ 61 w 122"/>
                  <a:gd name="T39" fmla="*/ 0 h 122"/>
                  <a:gd name="T40" fmla="*/ 50 w 122"/>
                  <a:gd name="T41" fmla="*/ 1 h 122"/>
                  <a:gd name="T42" fmla="*/ 38 w 122"/>
                  <a:gd name="T43" fmla="*/ 6 h 122"/>
                  <a:gd name="T44" fmla="*/ 28 w 122"/>
                  <a:gd name="T45" fmla="*/ 12 h 122"/>
                  <a:gd name="T46" fmla="*/ 19 w 122"/>
                  <a:gd name="T47" fmla="*/ 19 h 122"/>
                  <a:gd name="T48" fmla="*/ 12 w 122"/>
                  <a:gd name="T49" fmla="*/ 28 h 122"/>
                  <a:gd name="T50" fmla="*/ 6 w 122"/>
                  <a:gd name="T51" fmla="*/ 38 h 122"/>
                  <a:gd name="T52" fmla="*/ 2 w 122"/>
                  <a:gd name="T53" fmla="*/ 49 h 122"/>
                  <a:gd name="T54" fmla="*/ 0 w 122"/>
                  <a:gd name="T55" fmla="*/ 61 h 122"/>
                  <a:gd name="T56" fmla="*/ 0 w 122"/>
                  <a:gd name="T57" fmla="*/ 61 h 122"/>
                  <a:gd name="T58" fmla="*/ 2 w 122"/>
                  <a:gd name="T59" fmla="*/ 74 h 122"/>
                  <a:gd name="T60" fmla="*/ 6 w 122"/>
                  <a:gd name="T61" fmla="*/ 84 h 122"/>
                  <a:gd name="T62" fmla="*/ 12 w 122"/>
                  <a:gd name="T63" fmla="*/ 96 h 122"/>
                  <a:gd name="T64" fmla="*/ 19 w 122"/>
                  <a:gd name="T65" fmla="*/ 105 h 122"/>
                  <a:gd name="T66" fmla="*/ 28 w 122"/>
                  <a:gd name="T67" fmla="*/ 112 h 122"/>
                  <a:gd name="T68" fmla="*/ 38 w 122"/>
                  <a:gd name="T69" fmla="*/ 118 h 122"/>
                  <a:gd name="T70" fmla="*/ 50 w 122"/>
                  <a:gd name="T71" fmla="*/ 121 h 122"/>
                  <a:gd name="T72" fmla="*/ 61 w 122"/>
                  <a:gd name="T73" fmla="*/ 122 h 122"/>
                  <a:gd name="T74" fmla="*/ 61 w 122"/>
                  <a:gd name="T75" fmla="*/ 122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22" h="122">
                    <a:moveTo>
                      <a:pt x="61" y="122"/>
                    </a:moveTo>
                    <a:lnTo>
                      <a:pt x="61" y="122"/>
                    </a:lnTo>
                    <a:lnTo>
                      <a:pt x="74" y="121"/>
                    </a:lnTo>
                    <a:lnTo>
                      <a:pt x="84" y="118"/>
                    </a:lnTo>
                    <a:lnTo>
                      <a:pt x="95" y="112"/>
                    </a:lnTo>
                    <a:lnTo>
                      <a:pt x="105" y="105"/>
                    </a:lnTo>
                    <a:lnTo>
                      <a:pt x="112" y="96"/>
                    </a:lnTo>
                    <a:lnTo>
                      <a:pt x="118" y="84"/>
                    </a:lnTo>
                    <a:lnTo>
                      <a:pt x="121" y="74"/>
                    </a:lnTo>
                    <a:lnTo>
                      <a:pt x="122" y="61"/>
                    </a:lnTo>
                    <a:lnTo>
                      <a:pt x="122" y="61"/>
                    </a:lnTo>
                    <a:lnTo>
                      <a:pt x="121" y="49"/>
                    </a:lnTo>
                    <a:lnTo>
                      <a:pt x="118" y="38"/>
                    </a:lnTo>
                    <a:lnTo>
                      <a:pt x="112" y="28"/>
                    </a:lnTo>
                    <a:lnTo>
                      <a:pt x="105" y="19"/>
                    </a:lnTo>
                    <a:lnTo>
                      <a:pt x="95" y="12"/>
                    </a:lnTo>
                    <a:lnTo>
                      <a:pt x="84" y="6"/>
                    </a:lnTo>
                    <a:lnTo>
                      <a:pt x="74" y="1"/>
                    </a:lnTo>
                    <a:lnTo>
                      <a:pt x="61" y="0"/>
                    </a:lnTo>
                    <a:lnTo>
                      <a:pt x="61" y="0"/>
                    </a:lnTo>
                    <a:lnTo>
                      <a:pt x="50" y="1"/>
                    </a:lnTo>
                    <a:lnTo>
                      <a:pt x="38" y="6"/>
                    </a:lnTo>
                    <a:lnTo>
                      <a:pt x="28" y="12"/>
                    </a:lnTo>
                    <a:lnTo>
                      <a:pt x="19" y="19"/>
                    </a:lnTo>
                    <a:lnTo>
                      <a:pt x="12" y="28"/>
                    </a:lnTo>
                    <a:lnTo>
                      <a:pt x="6" y="38"/>
                    </a:lnTo>
                    <a:lnTo>
                      <a:pt x="2" y="49"/>
                    </a:lnTo>
                    <a:lnTo>
                      <a:pt x="0" y="61"/>
                    </a:lnTo>
                    <a:lnTo>
                      <a:pt x="0" y="61"/>
                    </a:lnTo>
                    <a:lnTo>
                      <a:pt x="2" y="74"/>
                    </a:lnTo>
                    <a:lnTo>
                      <a:pt x="6" y="84"/>
                    </a:lnTo>
                    <a:lnTo>
                      <a:pt x="12" y="96"/>
                    </a:lnTo>
                    <a:lnTo>
                      <a:pt x="19" y="105"/>
                    </a:lnTo>
                    <a:lnTo>
                      <a:pt x="28" y="112"/>
                    </a:lnTo>
                    <a:lnTo>
                      <a:pt x="38" y="118"/>
                    </a:lnTo>
                    <a:lnTo>
                      <a:pt x="50" y="121"/>
                    </a:lnTo>
                    <a:lnTo>
                      <a:pt x="61" y="122"/>
                    </a:lnTo>
                    <a:lnTo>
                      <a:pt x="61" y="12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18000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100"/>
              </a:p>
            </p:txBody>
          </p:sp>
          <p:sp>
            <p:nvSpPr>
              <p:cNvPr id="12" name="Freeform 266"/>
              <p:cNvSpPr>
                <a:spLocks/>
              </p:cNvSpPr>
              <p:nvPr/>
            </p:nvSpPr>
            <p:spPr bwMode="auto">
              <a:xfrm>
                <a:off x="3395520" y="6396821"/>
                <a:ext cx="66046" cy="151906"/>
              </a:xfrm>
              <a:custGeom>
                <a:avLst/>
                <a:gdLst>
                  <a:gd name="T0" fmla="*/ 91 w 91"/>
                  <a:gd name="T1" fmla="*/ 0 h 205"/>
                  <a:gd name="T2" fmla="*/ 91 w 91"/>
                  <a:gd name="T3" fmla="*/ 0 h 205"/>
                  <a:gd name="T4" fmla="*/ 88 w 91"/>
                  <a:gd name="T5" fmla="*/ 0 h 205"/>
                  <a:gd name="T6" fmla="*/ 88 w 91"/>
                  <a:gd name="T7" fmla="*/ 0 h 205"/>
                  <a:gd name="T8" fmla="*/ 66 w 91"/>
                  <a:gd name="T9" fmla="*/ 1 h 205"/>
                  <a:gd name="T10" fmla="*/ 45 w 91"/>
                  <a:gd name="T11" fmla="*/ 4 h 205"/>
                  <a:gd name="T12" fmla="*/ 27 w 91"/>
                  <a:gd name="T13" fmla="*/ 10 h 205"/>
                  <a:gd name="T14" fmla="*/ 9 w 91"/>
                  <a:gd name="T15" fmla="*/ 17 h 205"/>
                  <a:gd name="T16" fmla="*/ 0 w 91"/>
                  <a:gd name="T17" fmla="*/ 22 h 205"/>
                  <a:gd name="T18" fmla="*/ 0 w 91"/>
                  <a:gd name="T19" fmla="*/ 205 h 205"/>
                  <a:gd name="T20" fmla="*/ 91 w 91"/>
                  <a:gd name="T21" fmla="*/ 205 h 205"/>
                  <a:gd name="T22" fmla="*/ 91 w 91"/>
                  <a:gd name="T23" fmla="*/ 0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1" h="205">
                    <a:moveTo>
                      <a:pt x="91" y="0"/>
                    </a:moveTo>
                    <a:lnTo>
                      <a:pt x="91" y="0"/>
                    </a:lnTo>
                    <a:lnTo>
                      <a:pt x="88" y="0"/>
                    </a:lnTo>
                    <a:lnTo>
                      <a:pt x="88" y="0"/>
                    </a:lnTo>
                    <a:lnTo>
                      <a:pt x="66" y="1"/>
                    </a:lnTo>
                    <a:lnTo>
                      <a:pt x="45" y="4"/>
                    </a:lnTo>
                    <a:lnTo>
                      <a:pt x="27" y="10"/>
                    </a:lnTo>
                    <a:lnTo>
                      <a:pt x="9" y="17"/>
                    </a:lnTo>
                    <a:lnTo>
                      <a:pt x="0" y="22"/>
                    </a:lnTo>
                    <a:lnTo>
                      <a:pt x="0" y="205"/>
                    </a:lnTo>
                    <a:lnTo>
                      <a:pt x="91" y="205"/>
                    </a:lnTo>
                    <a:lnTo>
                      <a:pt x="9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18000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100"/>
              </a:p>
            </p:txBody>
          </p:sp>
          <p:sp>
            <p:nvSpPr>
              <p:cNvPr id="13" name="Freeform 267"/>
              <p:cNvSpPr>
                <a:spLocks/>
              </p:cNvSpPr>
              <p:nvPr/>
            </p:nvSpPr>
            <p:spPr bwMode="auto">
              <a:xfrm>
                <a:off x="3481378" y="6361596"/>
                <a:ext cx="156309" cy="187130"/>
              </a:xfrm>
              <a:custGeom>
                <a:avLst/>
                <a:gdLst>
                  <a:gd name="T0" fmla="*/ 212 w 212"/>
                  <a:gd name="T1" fmla="*/ 253 h 253"/>
                  <a:gd name="T2" fmla="*/ 212 w 212"/>
                  <a:gd name="T3" fmla="*/ 49 h 253"/>
                  <a:gd name="T4" fmla="*/ 212 w 212"/>
                  <a:gd name="T5" fmla="*/ 49 h 253"/>
                  <a:gd name="T6" fmla="*/ 212 w 212"/>
                  <a:gd name="T7" fmla="*/ 49 h 253"/>
                  <a:gd name="T8" fmla="*/ 212 w 212"/>
                  <a:gd name="T9" fmla="*/ 26 h 253"/>
                  <a:gd name="T10" fmla="*/ 205 w 212"/>
                  <a:gd name="T11" fmla="*/ 23 h 253"/>
                  <a:gd name="T12" fmla="*/ 205 w 212"/>
                  <a:gd name="T13" fmla="*/ 23 h 253"/>
                  <a:gd name="T14" fmla="*/ 183 w 212"/>
                  <a:gd name="T15" fmla="*/ 13 h 253"/>
                  <a:gd name="T16" fmla="*/ 158 w 212"/>
                  <a:gd name="T17" fmla="*/ 6 h 253"/>
                  <a:gd name="T18" fmla="*/ 132 w 212"/>
                  <a:gd name="T19" fmla="*/ 1 h 253"/>
                  <a:gd name="T20" fmla="*/ 106 w 212"/>
                  <a:gd name="T21" fmla="*/ 0 h 253"/>
                  <a:gd name="T22" fmla="*/ 106 w 212"/>
                  <a:gd name="T23" fmla="*/ 0 h 253"/>
                  <a:gd name="T24" fmla="*/ 80 w 212"/>
                  <a:gd name="T25" fmla="*/ 1 h 253"/>
                  <a:gd name="T26" fmla="*/ 54 w 212"/>
                  <a:gd name="T27" fmla="*/ 6 h 253"/>
                  <a:gd name="T28" fmla="*/ 30 w 212"/>
                  <a:gd name="T29" fmla="*/ 13 h 253"/>
                  <a:gd name="T30" fmla="*/ 8 w 212"/>
                  <a:gd name="T31" fmla="*/ 22 h 253"/>
                  <a:gd name="T32" fmla="*/ 0 w 212"/>
                  <a:gd name="T33" fmla="*/ 26 h 253"/>
                  <a:gd name="T34" fmla="*/ 0 w 212"/>
                  <a:gd name="T35" fmla="*/ 49 h 253"/>
                  <a:gd name="T36" fmla="*/ 0 w 212"/>
                  <a:gd name="T37" fmla="*/ 49 h 253"/>
                  <a:gd name="T38" fmla="*/ 0 w 212"/>
                  <a:gd name="T39" fmla="*/ 49 h 253"/>
                  <a:gd name="T40" fmla="*/ 0 w 212"/>
                  <a:gd name="T41" fmla="*/ 253 h 253"/>
                  <a:gd name="T42" fmla="*/ 0 w 212"/>
                  <a:gd name="T43" fmla="*/ 253 h 253"/>
                  <a:gd name="T44" fmla="*/ 0 w 212"/>
                  <a:gd name="T45" fmla="*/ 253 h 253"/>
                  <a:gd name="T46" fmla="*/ 183 w 212"/>
                  <a:gd name="T47" fmla="*/ 253 h 253"/>
                  <a:gd name="T48" fmla="*/ 183 w 212"/>
                  <a:gd name="T49" fmla="*/ 253 h 253"/>
                  <a:gd name="T50" fmla="*/ 212 w 212"/>
                  <a:gd name="T51" fmla="*/ 253 h 2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212" h="253">
                    <a:moveTo>
                      <a:pt x="212" y="253"/>
                    </a:moveTo>
                    <a:lnTo>
                      <a:pt x="212" y="49"/>
                    </a:lnTo>
                    <a:lnTo>
                      <a:pt x="212" y="49"/>
                    </a:lnTo>
                    <a:lnTo>
                      <a:pt x="212" y="49"/>
                    </a:lnTo>
                    <a:lnTo>
                      <a:pt x="212" y="26"/>
                    </a:lnTo>
                    <a:lnTo>
                      <a:pt x="205" y="23"/>
                    </a:lnTo>
                    <a:lnTo>
                      <a:pt x="205" y="23"/>
                    </a:lnTo>
                    <a:lnTo>
                      <a:pt x="183" y="13"/>
                    </a:lnTo>
                    <a:lnTo>
                      <a:pt x="158" y="6"/>
                    </a:lnTo>
                    <a:lnTo>
                      <a:pt x="132" y="1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80" y="1"/>
                    </a:lnTo>
                    <a:lnTo>
                      <a:pt x="54" y="6"/>
                    </a:lnTo>
                    <a:lnTo>
                      <a:pt x="30" y="13"/>
                    </a:lnTo>
                    <a:lnTo>
                      <a:pt x="8" y="22"/>
                    </a:lnTo>
                    <a:lnTo>
                      <a:pt x="0" y="26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0" y="49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0" y="253"/>
                    </a:lnTo>
                    <a:lnTo>
                      <a:pt x="183" y="253"/>
                    </a:lnTo>
                    <a:lnTo>
                      <a:pt x="183" y="253"/>
                    </a:lnTo>
                    <a:lnTo>
                      <a:pt x="212" y="25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18000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100"/>
              </a:p>
            </p:txBody>
          </p:sp>
          <p:sp>
            <p:nvSpPr>
              <p:cNvPr id="14" name="Freeform 268"/>
              <p:cNvSpPr>
                <a:spLocks/>
              </p:cNvSpPr>
              <p:nvPr/>
            </p:nvSpPr>
            <p:spPr bwMode="auto">
              <a:xfrm>
                <a:off x="3655299" y="6396821"/>
                <a:ext cx="66046" cy="151906"/>
              </a:xfrm>
              <a:custGeom>
                <a:avLst/>
                <a:gdLst>
                  <a:gd name="T0" fmla="*/ 83 w 90"/>
                  <a:gd name="T1" fmla="*/ 17 h 205"/>
                  <a:gd name="T2" fmla="*/ 83 w 90"/>
                  <a:gd name="T3" fmla="*/ 17 h 205"/>
                  <a:gd name="T4" fmla="*/ 66 w 90"/>
                  <a:gd name="T5" fmla="*/ 10 h 205"/>
                  <a:gd name="T6" fmla="*/ 45 w 90"/>
                  <a:gd name="T7" fmla="*/ 4 h 205"/>
                  <a:gd name="T8" fmla="*/ 25 w 90"/>
                  <a:gd name="T9" fmla="*/ 1 h 205"/>
                  <a:gd name="T10" fmla="*/ 3 w 90"/>
                  <a:gd name="T11" fmla="*/ 0 h 205"/>
                  <a:gd name="T12" fmla="*/ 3 w 90"/>
                  <a:gd name="T13" fmla="*/ 0 h 205"/>
                  <a:gd name="T14" fmla="*/ 0 w 90"/>
                  <a:gd name="T15" fmla="*/ 0 h 205"/>
                  <a:gd name="T16" fmla="*/ 0 w 90"/>
                  <a:gd name="T17" fmla="*/ 205 h 205"/>
                  <a:gd name="T18" fmla="*/ 90 w 90"/>
                  <a:gd name="T19" fmla="*/ 205 h 205"/>
                  <a:gd name="T20" fmla="*/ 90 w 90"/>
                  <a:gd name="T21" fmla="*/ 22 h 205"/>
                  <a:gd name="T22" fmla="*/ 83 w 90"/>
                  <a:gd name="T23" fmla="*/ 17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0" h="205">
                    <a:moveTo>
                      <a:pt x="83" y="17"/>
                    </a:moveTo>
                    <a:lnTo>
                      <a:pt x="83" y="17"/>
                    </a:lnTo>
                    <a:lnTo>
                      <a:pt x="66" y="10"/>
                    </a:lnTo>
                    <a:lnTo>
                      <a:pt x="45" y="4"/>
                    </a:lnTo>
                    <a:lnTo>
                      <a:pt x="25" y="1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0" y="0"/>
                    </a:lnTo>
                    <a:lnTo>
                      <a:pt x="0" y="205"/>
                    </a:lnTo>
                    <a:lnTo>
                      <a:pt x="90" y="205"/>
                    </a:lnTo>
                    <a:lnTo>
                      <a:pt x="90" y="22"/>
                    </a:lnTo>
                    <a:lnTo>
                      <a:pt x="83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180000" rIns="91440" bIns="18000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100"/>
              </a:p>
            </p:txBody>
          </p:sp>
        </p:grpSp>
      </p:grpSp>
      <p:grpSp>
        <p:nvGrpSpPr>
          <p:cNvPr id="30" name="Group 29"/>
          <p:cNvGrpSpPr/>
          <p:nvPr/>
        </p:nvGrpSpPr>
        <p:grpSpPr>
          <a:xfrm>
            <a:off x="6550280" y="177026"/>
            <a:ext cx="6063986" cy="532793"/>
            <a:chOff x="6583733" y="407988"/>
            <a:chExt cx="6063986" cy="532793"/>
          </a:xfrm>
        </p:grpSpPr>
        <p:sp>
          <p:nvSpPr>
            <p:cNvPr id="3" name="Rectangle 2"/>
            <p:cNvSpPr/>
            <p:nvPr/>
          </p:nvSpPr>
          <p:spPr>
            <a:xfrm>
              <a:off x="6583733" y="407988"/>
              <a:ext cx="6063986" cy="532793"/>
            </a:xfrm>
            <a:prstGeom prst="rect">
              <a:avLst/>
            </a:prstGeom>
            <a:solidFill>
              <a:schemeClr val="accent4"/>
            </a:solidFill>
            <a:ln w="3175">
              <a:solidFill>
                <a:schemeClr val="accent4"/>
              </a:solidFill>
            </a:ln>
          </p:spPr>
          <p:style>
            <a:lnRef idx="0">
              <a:schemeClr val="accent1"/>
            </a:lnRef>
            <a:fillRef idx="1">
              <a:schemeClr val="accent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wrap="square" lIns="72000" tIns="180000" rIns="72000" bIns="180000" rtlCol="0" anchor="ctr">
              <a:spAutoFit/>
            </a:bodyPr>
            <a:lstStyle/>
            <a:p>
              <a:pPr lvl="0">
                <a:buSzPct val="25000"/>
              </a:pPr>
              <a:r>
                <a:rPr lang="lv-LV" sz="1100" b="1" dirty="0">
                  <a:solidFill>
                    <a:schemeClr val="bg1"/>
                  </a:solidFill>
                  <a:ea typeface="Georgia"/>
                  <a:cs typeface="Georgia"/>
                  <a:sym typeface="Georgia"/>
                </a:rPr>
                <a:t>Kādus principus iemiesos komanda?</a:t>
              </a:r>
              <a:endParaRPr lang="en-US" sz="1100" b="1" dirty="0">
                <a:solidFill>
                  <a:schemeClr val="bg1"/>
                </a:solidFill>
                <a:ea typeface="Georgia"/>
                <a:cs typeface="Georgia"/>
                <a:sym typeface="Georgia"/>
              </a:endParaRPr>
            </a:p>
          </p:txBody>
        </p:sp>
        <p:sp>
          <p:nvSpPr>
            <p:cNvPr id="15" name="Shape 784"/>
            <p:cNvSpPr/>
            <p:nvPr/>
          </p:nvSpPr>
          <p:spPr>
            <a:xfrm>
              <a:off x="12378590" y="534608"/>
              <a:ext cx="199419" cy="279554"/>
            </a:xfrm>
            <a:custGeom>
              <a:avLst/>
              <a:gdLst/>
              <a:ahLst/>
              <a:cxnLst/>
              <a:rect l="0" t="0" r="0" b="0"/>
              <a:pathLst>
                <a:path w="120000" h="120000" extrusionOk="0">
                  <a:moveTo>
                    <a:pt x="120000" y="42193"/>
                  </a:moveTo>
                  <a:cubicBezTo>
                    <a:pt x="120000" y="72124"/>
                    <a:pt x="86849" y="76281"/>
                    <a:pt x="86849" y="87344"/>
                  </a:cubicBezTo>
                  <a:cubicBezTo>
                    <a:pt x="86849" y="91270"/>
                    <a:pt x="86849" y="91270"/>
                    <a:pt x="86849" y="91270"/>
                  </a:cubicBezTo>
                  <a:cubicBezTo>
                    <a:pt x="33150" y="91270"/>
                    <a:pt x="33150" y="91270"/>
                    <a:pt x="33150" y="91270"/>
                  </a:cubicBezTo>
                  <a:cubicBezTo>
                    <a:pt x="33150" y="87344"/>
                    <a:pt x="33150" y="87344"/>
                    <a:pt x="33150" y="87344"/>
                  </a:cubicBezTo>
                  <a:cubicBezTo>
                    <a:pt x="33150" y="77297"/>
                    <a:pt x="0" y="71639"/>
                    <a:pt x="0" y="42193"/>
                  </a:cubicBezTo>
                  <a:cubicBezTo>
                    <a:pt x="0" y="18891"/>
                    <a:pt x="26881" y="0"/>
                    <a:pt x="60000" y="0"/>
                  </a:cubicBezTo>
                  <a:cubicBezTo>
                    <a:pt x="93118" y="0"/>
                    <a:pt x="120000" y="18891"/>
                    <a:pt x="120000" y="42193"/>
                  </a:cubicBezTo>
                  <a:moveTo>
                    <a:pt x="32330" y="98152"/>
                  </a:moveTo>
                  <a:cubicBezTo>
                    <a:pt x="32330" y="105404"/>
                    <a:pt x="32330" y="105404"/>
                    <a:pt x="32330" y="105404"/>
                  </a:cubicBezTo>
                  <a:cubicBezTo>
                    <a:pt x="32396" y="105404"/>
                    <a:pt x="32396" y="105404"/>
                    <a:pt x="32396" y="105404"/>
                  </a:cubicBezTo>
                  <a:cubicBezTo>
                    <a:pt x="32625" y="107736"/>
                    <a:pt x="34628" y="109168"/>
                    <a:pt x="37417" y="110692"/>
                  </a:cubicBezTo>
                  <a:cubicBezTo>
                    <a:pt x="37417" y="110692"/>
                    <a:pt x="53599" y="115750"/>
                    <a:pt x="53435" y="120000"/>
                  </a:cubicBezTo>
                  <a:cubicBezTo>
                    <a:pt x="66728" y="120000"/>
                    <a:pt x="66728" y="120000"/>
                    <a:pt x="66728" y="120000"/>
                  </a:cubicBezTo>
                  <a:cubicBezTo>
                    <a:pt x="66728" y="116651"/>
                    <a:pt x="82286" y="110692"/>
                    <a:pt x="82286" y="110692"/>
                  </a:cubicBezTo>
                  <a:cubicBezTo>
                    <a:pt x="84584" y="109422"/>
                    <a:pt x="87374" y="107482"/>
                    <a:pt x="87374" y="104965"/>
                  </a:cubicBezTo>
                  <a:cubicBezTo>
                    <a:pt x="87374" y="98152"/>
                    <a:pt x="87374" y="98152"/>
                    <a:pt x="87374" y="98152"/>
                  </a:cubicBezTo>
                  <a:lnTo>
                    <a:pt x="32330" y="9815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lIns="91425" tIns="180000" rIns="91425" bIns="180000" anchor="t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buClr>
                  <a:schemeClr val="dk1"/>
                </a:buClr>
                <a:buFont typeface="Arial"/>
                <a:buNone/>
              </a:pPr>
              <a:endParaRPr sz="1100">
                <a:solidFill>
                  <a:schemeClr val="dk1"/>
                </a:solidFill>
                <a:latin typeface="+mj-lt"/>
                <a:ea typeface="Arial"/>
                <a:cs typeface="Arial"/>
                <a:sym typeface="Arial"/>
              </a:endParaRPr>
            </a:p>
          </p:txBody>
        </p:sp>
      </p:grp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8546662"/>
              </p:ext>
            </p:extLst>
          </p:nvPr>
        </p:nvGraphicFramePr>
        <p:xfrm>
          <a:off x="178987" y="5337264"/>
          <a:ext cx="6064250" cy="40695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32125">
                  <a:extLst>
                    <a:ext uri="{9D8B030D-6E8A-4147-A177-3AD203B41FA5}">
                      <a16:colId xmlns:a16="http://schemas.microsoft.com/office/drawing/2014/main" val="3801938894"/>
                    </a:ext>
                  </a:extLst>
                </a:gridCol>
                <a:gridCol w="3032125">
                  <a:extLst>
                    <a:ext uri="{9D8B030D-6E8A-4147-A177-3AD203B41FA5}">
                      <a16:colId xmlns:a16="http://schemas.microsoft.com/office/drawing/2014/main" val="3184872767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lv-LV" sz="800" b="1" u="none" strike="noStrike" kern="1200" cap="none" dirty="0">
                          <a:solidFill>
                            <a:schemeClr val="accent5"/>
                          </a:solidFill>
                          <a:latin typeface="+mn-lt"/>
                          <a:ea typeface="+mn-ea"/>
                          <a:cs typeface="+mn-cs"/>
                        </a:rPr>
                        <a:t>VĀRDS</a:t>
                      </a:r>
                    </a:p>
                  </a:txBody>
                  <a:tcPr marL="72000" marR="72000" marT="108000" marB="72000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rtl="0">
                        <a:spcBef>
                          <a:spcPts val="0"/>
                        </a:spcBef>
                        <a:buSzPct val="25000"/>
                        <a:buNone/>
                      </a:pPr>
                      <a:r>
                        <a:rPr lang="lv-LV" sz="800" b="1" dirty="0">
                          <a:solidFill>
                            <a:schemeClr val="accent5"/>
                          </a:solidFill>
                        </a:rPr>
                        <a:t>KOMANDAS BIEDRA SUPERSPĒJA</a:t>
                      </a:r>
                      <a:endParaRPr lang="en-US" sz="800" b="1" dirty="0">
                        <a:solidFill>
                          <a:schemeClr val="accent5"/>
                        </a:solidFill>
                      </a:endParaRPr>
                    </a:p>
                  </a:txBody>
                  <a:tcPr marL="72000" marR="72000" marT="108000" marB="72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86692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b="0" i="0" u="none" strike="noStrike" kern="1200" cap="none" dirty="0">
                        <a:solidFill>
                          <a:schemeClr val="dk1"/>
                        </a:solidFill>
                        <a:latin typeface="+mn-lt"/>
                        <a:ea typeface="Arial"/>
                        <a:cs typeface="Arial"/>
                      </a:endParaRPr>
                    </a:p>
                  </a:txBody>
                  <a:tcPr marL="72000" marR="72000" marT="1800000" marB="1800000">
                    <a:lnR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cap="none" dirty="0">
                        <a:solidFill>
                          <a:schemeClr val="dk1"/>
                        </a:solidFill>
                        <a:latin typeface="+mn-lt"/>
                        <a:ea typeface="Arial"/>
                        <a:cs typeface="Arial"/>
                        <a:sym typeface="Arial"/>
                      </a:endParaRPr>
                    </a:p>
                  </a:txBody>
                  <a:tcPr marL="72000" marR="72000" marT="1800000" marB="1800000">
                    <a:lnL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9525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4310612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480537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Aft>
            <a:spcPts val="600"/>
          </a:spcAft>
          <a:buSzPct val="100000"/>
          <a:defRPr sz="1600" dirty="0" err="1" smtClean="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wC 16x9 PowerPoint.potx" id="{D4DCA9A9-A671-44E4-915A-C83629F99A90}" vid="{6074E35A-D868-441C-8EFF-8DE4FA24430B}"/>
    </a:ext>
  </a:extLst>
</a:theme>
</file>

<file path=ppt/theme/theme2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ppt/theme/theme3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B673128840CDC479699297BA60FACB6" ma:contentTypeVersion="0" ma:contentTypeDescription="Create a new document." ma:contentTypeScope="" ma:versionID="3a6a9e921ab67b66f2bda366c0ca36e4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D6CBEA3-DEB5-41DE-B1AB-17DCB2F0BE8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39A7E4CD-A0CC-4843-A0CB-283D91CDD670}">
  <ds:schemaRefs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D2D85DE8-8EC5-41AB-9FEA-00057E85138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wC 16x9 PowerPoint</Template>
  <TotalTime>516</TotalTime>
  <Words>648</Words>
  <Application>Microsoft Office PowerPoint</Application>
  <PresentationFormat>A3 papīrs (297x420 mm)</PresentationFormat>
  <Paragraphs>121</Paragraphs>
  <Slides>9</Slides>
  <Notes>0</Notes>
  <HiddenSlides>0</HiddenSlides>
  <MMClips>0</MMClips>
  <ScaleCrop>false</ScaleCrop>
  <HeadingPairs>
    <vt:vector size="8" baseType="variant">
      <vt:variant>
        <vt:lpstr>Lietotie fonti</vt:lpstr>
      </vt:variant>
      <vt:variant>
        <vt:i4>2</vt:i4>
      </vt:variant>
      <vt:variant>
        <vt:lpstr>Dizains</vt:lpstr>
      </vt:variant>
      <vt:variant>
        <vt:i4>1</vt:i4>
      </vt:variant>
      <vt:variant>
        <vt:lpstr>Iegulti OLE serveri</vt:lpstr>
      </vt:variant>
      <vt:variant>
        <vt:i4>1</vt:i4>
      </vt:variant>
      <vt:variant>
        <vt:lpstr>Slaidu virsraksti</vt:lpstr>
      </vt:variant>
      <vt:variant>
        <vt:i4>9</vt:i4>
      </vt:variant>
    </vt:vector>
  </HeadingPairs>
  <TitlesOfParts>
    <vt:vector size="13" baseType="lpstr">
      <vt:lpstr>Arial</vt:lpstr>
      <vt:lpstr>Georgia</vt:lpstr>
      <vt:lpstr>PwC</vt:lpstr>
      <vt:lpstr>think-cell Slide</vt:lpstr>
      <vt:lpstr>PowerPoint prezentācija</vt:lpstr>
      <vt:lpstr>PowerPoint prezentācija</vt:lpstr>
      <vt:lpstr>PowerPoint prezentācija</vt:lpstr>
      <vt:lpstr>PowerPoint prezentācija</vt:lpstr>
      <vt:lpstr>PowerPoint prezentācija</vt:lpstr>
      <vt:lpstr>PowerPoint prezentācija</vt:lpstr>
      <vt:lpstr>PowerPoint prezentācija</vt:lpstr>
      <vt:lpstr>PowerPoint prezentācija</vt:lpstr>
      <vt:lpstr>PowerPoint prezentācija</vt:lpstr>
    </vt:vector>
  </TitlesOfParts>
  <Manager/>
  <Company>PricewaterhouseCooper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Maryana Bodnar</dc:creator>
  <cp:keywords/>
  <dc:description/>
  <cp:lastModifiedBy>Laura Dimitrijeva</cp:lastModifiedBy>
  <cp:revision>44</cp:revision>
  <dcterms:created xsi:type="dcterms:W3CDTF">2019-06-21T06:54:59Z</dcterms:created>
  <dcterms:modified xsi:type="dcterms:W3CDTF">2020-01-09T15:32:14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type">
    <vt:lpwstr>PwC16x9</vt:lpwstr>
  </property>
  <property fmtid="{D5CDD505-2E9C-101B-9397-08002B2CF9AE}" pid="3" name="TB template version">
    <vt:lpwstr>6</vt:lpwstr>
  </property>
  <property fmtid="{D5CDD505-2E9C-101B-9397-08002B2CF9AE}" pid="4" name="TB template release">
    <vt:lpwstr>4</vt:lpwstr>
  </property>
  <property fmtid="{D5CDD505-2E9C-101B-9397-08002B2CF9AE}" pid="5" name="ContentTypeId">
    <vt:lpwstr>0x0101006B673128840CDC479699297BA60FACB6</vt:lpwstr>
  </property>
</Properties>
</file>